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5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7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9.xml" ContentType="application/vnd.openxmlformats-officedocument.theme+xml"/>
  <Override PartName="/ppt/tags/tag77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0.xml" ContentType="application/vnd.openxmlformats-officedocument.theme+xml"/>
  <Override PartName="/ppt/tags/tag78.xml" ContentType="application/vnd.openxmlformats-officedocument.presentationml.tags+xml"/>
  <Override PartName="/ppt/slideLayouts/slideLayout107.xml" ContentType="application/vnd.openxmlformats-officedocument.presentationml.slideLayout+xml"/>
  <Override PartName="/ppt/theme/theme11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2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3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4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15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slideLayouts/slideLayout170.xml" ContentType="application/vnd.openxmlformats-officedocument.presentationml.slideLayout+xml"/>
  <Override PartName="/ppt/theme/theme16.xml" ContentType="application/vnd.openxmlformats-officedocument.them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heme/theme17.xml" ContentType="application/vnd.openxmlformats-officedocument.theme+xml"/>
  <Override PartName="/ppt/theme/theme18.xml" ContentType="application/vnd.openxmlformats-officedocument.theme+xml"/>
  <Override PartName="/ppt/tags/tag13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4"/>
    <p:sldMasterId id="2147483758" r:id="rId5"/>
    <p:sldMasterId id="2147483782" r:id="rId6"/>
    <p:sldMasterId id="2147483954" r:id="rId7"/>
    <p:sldMasterId id="2147483824" r:id="rId8"/>
    <p:sldMasterId id="2147483891" r:id="rId9"/>
    <p:sldMasterId id="2147483894" r:id="rId10"/>
    <p:sldMasterId id="2147483895" r:id="rId11"/>
    <p:sldMasterId id="2147483899" r:id="rId12"/>
    <p:sldMasterId id="2147483996" r:id="rId13"/>
    <p:sldMasterId id="2147484010" r:id="rId14"/>
    <p:sldMasterId id="2147484065" r:id="rId15"/>
    <p:sldMasterId id="2147484085" r:id="rId16"/>
    <p:sldMasterId id="2147484109" r:id="rId17"/>
    <p:sldMasterId id="2147484132" r:id="rId18"/>
    <p:sldMasterId id="2147484135" r:id="rId19"/>
  </p:sldMasterIdLst>
  <p:notesMasterIdLst>
    <p:notesMasterId r:id="rId34"/>
  </p:notesMasterIdLst>
  <p:handoutMasterIdLst>
    <p:handoutMasterId r:id="rId35"/>
  </p:handoutMasterIdLst>
  <p:sldIdLst>
    <p:sldId id="454" r:id="rId20"/>
    <p:sldId id="455" r:id="rId21"/>
    <p:sldId id="478" r:id="rId22"/>
    <p:sldId id="480" r:id="rId23"/>
    <p:sldId id="482" r:id="rId24"/>
    <p:sldId id="444" r:id="rId25"/>
    <p:sldId id="448" r:id="rId26"/>
    <p:sldId id="473" r:id="rId27"/>
    <p:sldId id="450" r:id="rId28"/>
    <p:sldId id="467" r:id="rId29"/>
    <p:sldId id="483" r:id="rId30"/>
    <p:sldId id="452" r:id="rId31"/>
    <p:sldId id="477" r:id="rId32"/>
    <p:sldId id="469" r:id="rId33"/>
  </p:sldIdLst>
  <p:sldSz cx="13442950" cy="7561263"/>
  <p:notesSz cx="6858000" cy="9144000"/>
  <p:custDataLst>
    <p:tags r:id="rId3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AC8C8"/>
    <a:srgbClr val="FB3449"/>
    <a:srgbClr val="000000"/>
    <a:srgbClr val="8547AD"/>
    <a:srgbClr val="33006F"/>
    <a:srgbClr val="0099A8"/>
    <a:srgbClr val="EA576C"/>
    <a:srgbClr val="DFDEDE"/>
    <a:srgbClr val="8A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57" autoAdjust="0"/>
    <p:restoredTop sz="94280" autoAdjust="0"/>
  </p:normalViewPr>
  <p:slideViewPr>
    <p:cSldViewPr snapToGrid="0">
      <p:cViewPr varScale="1">
        <p:scale>
          <a:sx n="73" d="100"/>
          <a:sy n="73" d="100"/>
        </p:scale>
        <p:origin x="754" y="62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9" Type="http://schemas.openxmlformats.org/officeDocument/2006/relationships/viewProps" Target="viewProps.xml"/><Relationship Id="rId21" Type="http://schemas.openxmlformats.org/officeDocument/2006/relationships/slide" Target="slides/slide2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274514356791998E-2"/>
          <c:y val="2.01037997247683E-2"/>
          <c:w val="0.733771195911882"/>
          <c:h val="0.8378049139725050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tx1"/>
            </a:solidFill>
          </c:spPr>
          <c:dPt>
            <c:idx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E272-4BAB-BA09-28D57B30151E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</c:spPr>
            <c:extLst>
              <c:ext xmlns:c16="http://schemas.microsoft.com/office/drawing/2014/chart" uri="{C3380CC4-5D6E-409C-BE32-E72D297353CC}">
                <c16:uniqueId val="{00000001-E272-4BAB-BA09-28D57B30151E}"/>
              </c:ext>
            </c:extLst>
          </c:dPt>
          <c:dLbls>
            <c:dLbl>
              <c:idx val="0"/>
              <c:layout>
                <c:manualLayout>
                  <c:x val="-7.9509149443769342E-2"/>
                  <c:y val="-0.34815573068065642"/>
                </c:manualLayout>
              </c:layout>
              <c:tx>
                <c:rich>
                  <a:bodyPr/>
                  <a:lstStyle/>
                  <a:p>
                    <a:pPr>
                      <a:defRPr lang="en-GB" b="1">
                        <a:solidFill>
                          <a:srgbClr val="FFFFFF"/>
                        </a:solidFill>
                      </a:defRPr>
                    </a:pPr>
                    <a:fld id="{3D7E5B81-6278-4E89-A661-45300467DFAC}" type="VALUE">
                      <a:rPr lang="en-US" sz="2000" smtClean="0"/>
                      <a:pPr>
                        <a:defRPr lang="en-GB" b="1">
                          <a:solidFill>
                            <a:srgbClr val="FFFFFF"/>
                          </a:solidFill>
                        </a:defRPr>
                      </a:pPr>
                      <a:t>[VALUE]</a:t>
                    </a:fld>
                    <a:r>
                      <a:rPr lang="en-US" sz="2000" dirty="0"/>
                      <a:t>%</a:t>
                    </a:r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E272-4BAB-BA09-28D57B30151E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272-4BAB-BA09-28D57B3015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GB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High Street/Shopping Centre/Retail Park</c:v>
                </c:pt>
                <c:pt idx="1">
                  <c:v>Not on a High Street/Shopping Centr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4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272-4BAB-BA09-28D57B301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3.0835614742726301E-2"/>
          <c:y val="0.88196228296040902"/>
          <c:w val="0.78314140661877196"/>
          <c:h val="9.4539294424998213E-2"/>
        </c:manualLayout>
      </c:layout>
      <c:overlay val="0"/>
      <c:txPr>
        <a:bodyPr/>
        <a:lstStyle/>
        <a:p>
          <a:pPr>
            <a:defRPr lang="en-GB" sz="1000" b="1">
              <a:solidFill>
                <a:schemeClr val="accent6"/>
              </a:solidFill>
            </a:defRPr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6/9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6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6785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1384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24453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0328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52%</a:t>
            </a:r>
            <a:r>
              <a:rPr lang="en-GB" baseline="0" dirty="0"/>
              <a:t> of multiplexes in high street or shopping centr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3405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52%</a:t>
            </a:r>
            <a:r>
              <a:rPr lang="en-GB" baseline="0" dirty="0"/>
              <a:t> of multiplexes in high street or shopping centr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6035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2.bin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2610727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23300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087508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834189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1596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546796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208553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99282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2128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98215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736493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259063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85261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66895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7398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77016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05399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 – delete grey shap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284312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4045417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0542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450873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49109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22314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175513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040542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635998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49762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65191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59307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491530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328742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623020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990429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812288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753754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 – delete grey shap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15781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55718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6000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578674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2228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1637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4224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26531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296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22060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74807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96229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943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6925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4173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25869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33824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883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21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259672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0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1248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8398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0418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35314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73005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10420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69024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 Black and white imagery only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041738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48252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8776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</p:spTree>
    <p:extLst>
      <p:ext uri="{BB962C8B-B14F-4D97-AF65-F5344CB8AC3E}">
        <p14:creationId xmlns:p14="http://schemas.microsoft.com/office/powerpoint/2010/main" val="2399576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55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331766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81060" y="1704525"/>
            <a:ext cx="1992098" cy="231271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4134929"/>
            <a:ext cx="1992098" cy="248390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1" y="4312382"/>
            <a:ext cx="1987378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2531931" y="2806107"/>
            <a:ext cx="1992314" cy="231635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531931" y="5245685"/>
            <a:ext cx="1964145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531931" y="5423137"/>
            <a:ext cx="1964145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670101" y="1704527"/>
            <a:ext cx="1992314" cy="231270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670102" y="4134929"/>
            <a:ext cx="1989981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670102" y="4312382"/>
            <a:ext cx="1989981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5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804489" y="2806107"/>
            <a:ext cx="1981061" cy="2316354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6804489" y="5245685"/>
            <a:ext cx="1981061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804489" y="5423138"/>
            <a:ext cx="1981061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8946441" y="1704525"/>
            <a:ext cx="1992314" cy="231271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946441" y="4133355"/>
            <a:ext cx="1985747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946441" y="4310808"/>
            <a:ext cx="1985747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3" name="Picture Placeholder 13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11097313" y="2804534"/>
            <a:ext cx="1992314" cy="233534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43200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o not rescale image placeholder.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97313" y="5244110"/>
            <a:ext cx="1979397" cy="20593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11097313" y="5421563"/>
            <a:ext cx="1979397" cy="31900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3970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06390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  <p:sp>
        <p:nvSpPr>
          <p:cNvPr id="90" name="TextBox 20"/>
          <p:cNvSpPr txBox="1">
            <a:spLocks noChangeArrowheads="1"/>
          </p:cNvSpPr>
          <p:nvPr userDrawn="1"/>
        </p:nvSpPr>
        <p:spPr bwMode="auto">
          <a:xfrm>
            <a:off x="10611285" y="6183028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91" name="TextBox 21"/>
          <p:cNvSpPr txBox="1">
            <a:spLocks noChangeArrowheads="1"/>
          </p:cNvSpPr>
          <p:nvPr userDrawn="1"/>
        </p:nvSpPr>
        <p:spPr bwMode="auto">
          <a:xfrm>
            <a:off x="12026518" y="6183027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92" name="Freeform 43"/>
          <p:cNvSpPr>
            <a:spLocks/>
          </p:cNvSpPr>
          <p:nvPr userDrawn="1"/>
        </p:nvSpPr>
        <p:spPr bwMode="auto">
          <a:xfrm>
            <a:off x="10452595" y="4868460"/>
            <a:ext cx="1263600" cy="12636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3" name="Freeform 20"/>
          <p:cNvSpPr>
            <a:spLocks/>
          </p:cNvSpPr>
          <p:nvPr userDrawn="1"/>
        </p:nvSpPr>
        <p:spPr bwMode="auto">
          <a:xfrm>
            <a:off x="11911150" y="4868460"/>
            <a:ext cx="1263600" cy="12636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2192258" y="3618285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10647867" y="3620185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12081181" y="2538673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10603878" y="2517413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274363" y="5096617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268299" y="3994458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7656615" y="3994458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4705636" y="3994458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745602" y="3994458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6177509" y="3994458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22903" y="3994458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782252" y="509661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3217526" y="5096617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4665507" y="5096617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6201770" y="5096617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7691105" y="5096617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10642171" y="5096617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10614848" y="3994458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9164126" y="5096617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9132115" y="3994458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vmlDrawing" Target="../drawings/vmlDrawing77.v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oleObject" Target="../embeddings/oleObject77.bin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tags" Target="../tags/tag78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8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tags" Target="../tags/tag7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10.xml"/><Relationship Id="rId21" Type="http://schemas.openxmlformats.org/officeDocument/2006/relationships/tags" Target="../tags/tag81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vmlDrawing" Target="../drawings/vmlDrawing80.v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17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oleObject" Target="../embeddings/oleObject80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128.xml"/><Relationship Id="rId21" Type="http://schemas.openxmlformats.org/officeDocument/2006/relationships/theme" Target="../theme/theme13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oleObject" Target="../embeddings/oleObject99.bin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tags" Target="../tags/tag100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vmlDrawing" Target="../drawings/vmlDrawing99.v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slideLayout" Target="../slideLayouts/slideLayout158.xml"/><Relationship Id="rId18" Type="http://schemas.openxmlformats.org/officeDocument/2006/relationships/slideLayout" Target="../slideLayouts/slideLayout163.xml"/><Relationship Id="rId26" Type="http://schemas.openxmlformats.org/officeDocument/2006/relationships/oleObject" Target="../embeddings/oleObject118.bin"/><Relationship Id="rId3" Type="http://schemas.openxmlformats.org/officeDocument/2006/relationships/slideLayout" Target="../slideLayouts/slideLayout148.xml"/><Relationship Id="rId21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slideLayout" Target="../slideLayouts/slideLayout162.xml"/><Relationship Id="rId25" Type="http://schemas.openxmlformats.org/officeDocument/2006/relationships/tags" Target="../tags/tag119.xml"/><Relationship Id="rId2" Type="http://schemas.openxmlformats.org/officeDocument/2006/relationships/slideLayout" Target="../slideLayouts/slideLayout147.xml"/><Relationship Id="rId16" Type="http://schemas.openxmlformats.org/officeDocument/2006/relationships/slideLayout" Target="../slideLayouts/slideLayout161.xml"/><Relationship Id="rId20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24" Type="http://schemas.openxmlformats.org/officeDocument/2006/relationships/vmlDrawing" Target="../drawings/vmlDrawing118.vml"/><Relationship Id="rId5" Type="http://schemas.openxmlformats.org/officeDocument/2006/relationships/slideLayout" Target="../slideLayouts/slideLayout150.xml"/><Relationship Id="rId15" Type="http://schemas.openxmlformats.org/officeDocument/2006/relationships/slideLayout" Target="../slideLayouts/slideLayout160.xml"/><Relationship Id="rId23" Type="http://schemas.openxmlformats.org/officeDocument/2006/relationships/theme" Target="../theme/theme1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55.xml"/><Relationship Id="rId19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slideLayout" Target="../slideLayouts/slideLayout159.xml"/><Relationship Id="rId22" Type="http://schemas.openxmlformats.org/officeDocument/2006/relationships/slideLayout" Target="../slideLayouts/slideLayout167.xml"/><Relationship Id="rId27" Type="http://schemas.openxmlformats.org/officeDocument/2006/relationships/image" Target="../media/image1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68.xml"/><Relationship Id="rId6" Type="http://schemas.openxmlformats.org/officeDocument/2006/relationships/oleObject" Target="../embeddings/oleObject133.bin"/><Relationship Id="rId5" Type="http://schemas.openxmlformats.org/officeDocument/2006/relationships/tags" Target="../tags/tag134.xml"/><Relationship Id="rId4" Type="http://schemas.openxmlformats.org/officeDocument/2006/relationships/vmlDrawing" Target="../drawings/vmlDrawing133.v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36.vml"/><Relationship Id="rId7" Type="http://schemas.openxmlformats.org/officeDocument/2006/relationships/image" Target="../media/image5.png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17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6.bin"/><Relationship Id="rId4" Type="http://schemas.openxmlformats.org/officeDocument/2006/relationships/tags" Target="../tags/tag13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vmlDrawing" Target="../drawings/vmlDrawing12.v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oleObject" Target="../embeddings/oleObject1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oleObject" Target="../embeddings/oleObject26.bin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27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vmlDrawing" Target="../drawings/vmlDrawing26.v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slideLayout" Target="../slideLayouts/slideLayout54.xml"/><Relationship Id="rId7" Type="http://schemas.openxmlformats.org/officeDocument/2006/relationships/vmlDrawing" Target="../drawings/vmlDrawing41.v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55.xml"/><Relationship Id="rId9" Type="http://schemas.openxmlformats.org/officeDocument/2006/relationships/oleObject" Target="../embeddings/oleObject41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9.xml"/><Relationship Id="rId21" Type="http://schemas.openxmlformats.org/officeDocument/2006/relationships/slideLayout" Target="../slideLayouts/slideLayout77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oleObject" Target="../embeddings/oleObject47.bin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6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tags" Target="../tags/tag48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vmlDrawing" Target="../drawings/vmlDrawing47.v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80.xml"/><Relationship Id="rId7" Type="http://schemas.openxmlformats.org/officeDocument/2006/relationships/oleObject" Target="../embeddings/oleObject61.bin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tags" Target="../tags/tag62.xml"/><Relationship Id="rId5" Type="http://schemas.openxmlformats.org/officeDocument/2006/relationships/vmlDrawing" Target="../drawings/vmlDrawing61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4.vml"/><Relationship Id="rId3" Type="http://schemas.openxmlformats.org/officeDocument/2006/relationships/slideLayout" Target="../slideLayouts/slideLayout83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85.xml"/><Relationship Id="rId10" Type="http://schemas.openxmlformats.org/officeDocument/2006/relationships/oleObject" Target="../embeddings/oleObject64.bin"/><Relationship Id="rId4" Type="http://schemas.openxmlformats.org/officeDocument/2006/relationships/slideLayout" Target="../slideLayouts/slideLayout84.xml"/><Relationship Id="rId9" Type="http://schemas.openxmlformats.org/officeDocument/2006/relationships/tags" Target="../tags/tag6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3" Type="http://schemas.openxmlformats.org/officeDocument/2006/relationships/slideLayout" Target="../slideLayouts/slideLayout89.xml"/><Relationship Id="rId7" Type="http://schemas.openxmlformats.org/officeDocument/2006/relationships/vmlDrawing" Target="../drawings/vmlDrawing70.v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9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0.xml"/><Relationship Id="rId9" Type="http://schemas.openxmlformats.org/officeDocument/2006/relationships/oleObject" Target="../embeddings/oleObject70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6.bin"/><Relationship Id="rId3" Type="http://schemas.openxmlformats.org/officeDocument/2006/relationships/slideLayout" Target="../slideLayouts/slideLayout94.xml"/><Relationship Id="rId7" Type="http://schemas.openxmlformats.org/officeDocument/2006/relationships/tags" Target="../tags/tag77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vmlDrawing" Target="../drawings/vmlDrawing76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95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2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4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1"/>
            <a:ext cx="13442950" cy="7561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72142"/>
            <a:ext cx="931586" cy="32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0648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6" r:id="rId1"/>
    <p:sldLayoutId id="2147484067" r:id="rId2"/>
    <p:sldLayoutId id="2147484068" r:id="rId3"/>
    <p:sldLayoutId id="2147484069" r:id="rId4"/>
    <p:sldLayoutId id="2147484070" r:id="rId5"/>
    <p:sldLayoutId id="2147484071" r:id="rId6"/>
    <p:sldLayoutId id="2147484072" r:id="rId7"/>
    <p:sldLayoutId id="2147484073" r:id="rId8"/>
    <p:sldLayoutId id="2147484074" r:id="rId9"/>
    <p:sldLayoutId id="2147484075" r:id="rId10"/>
    <p:sldLayoutId id="2147484076" r:id="rId11"/>
    <p:sldLayoutId id="2147484077" r:id="rId12"/>
    <p:sldLayoutId id="2147484078" r:id="rId13"/>
    <p:sldLayoutId id="2147484079" r:id="rId14"/>
    <p:sldLayoutId id="2147484080" r:id="rId15"/>
    <p:sldLayoutId id="2147484081" r:id="rId16"/>
    <p:sldLayoutId id="2147484082" r:id="rId17"/>
    <p:sldLayoutId id="2147484083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FFFFFF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0" name="think-cell Slide" r:id="rId24" imgW="6350000" imgH="6350000" progId="">
                  <p:embed/>
                </p:oleObj>
              </mc:Choice>
              <mc:Fallback>
                <p:oleObj name="think-cell Slide" r:id="rId2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1"/>
            <a:ext cx="13442950" cy="7561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72142"/>
            <a:ext cx="931586" cy="32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745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6" r:id="rId1"/>
    <p:sldLayoutId id="2147484087" r:id="rId2"/>
    <p:sldLayoutId id="2147484088" r:id="rId3"/>
    <p:sldLayoutId id="2147484089" r:id="rId4"/>
    <p:sldLayoutId id="2147484090" r:id="rId5"/>
    <p:sldLayoutId id="2147484091" r:id="rId6"/>
    <p:sldLayoutId id="2147484092" r:id="rId7"/>
    <p:sldLayoutId id="2147484093" r:id="rId8"/>
    <p:sldLayoutId id="2147484094" r:id="rId9"/>
    <p:sldLayoutId id="2147484095" r:id="rId10"/>
    <p:sldLayoutId id="2147484096" r:id="rId11"/>
    <p:sldLayoutId id="2147484097" r:id="rId12"/>
    <p:sldLayoutId id="2147484098" r:id="rId13"/>
    <p:sldLayoutId id="2147484099" r:id="rId14"/>
    <p:sldLayoutId id="2147484100" r:id="rId15"/>
    <p:sldLayoutId id="2147484101" r:id="rId16"/>
    <p:sldLayoutId id="2147484102" r:id="rId17"/>
    <p:sldLayoutId id="2147484103" r:id="rId18"/>
    <p:sldLayoutId id="2147484104" r:id="rId19"/>
    <p:sldLayoutId id="2147484105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FFFFFF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6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308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18" r:id="rId9"/>
    <p:sldLayoutId id="2147484119" r:id="rId10"/>
    <p:sldLayoutId id="2147484120" r:id="rId11"/>
    <p:sldLayoutId id="2147484121" r:id="rId12"/>
    <p:sldLayoutId id="2147484122" r:id="rId13"/>
    <p:sldLayoutId id="2147484123" r:id="rId14"/>
    <p:sldLayoutId id="2147484124" r:id="rId15"/>
    <p:sldLayoutId id="2147484125" r:id="rId16"/>
    <p:sldLayoutId id="2147484126" r:id="rId17"/>
    <p:sldLayoutId id="2147484127" r:id="rId18"/>
    <p:sldLayoutId id="2147484128" r:id="rId19"/>
    <p:sldLayoutId id="2147484129" r:id="rId20"/>
    <p:sldLayoutId id="2147484130" r:id="rId21"/>
    <p:sldLayoutId id="2147484131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6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380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  <p:sldLayoutId id="2147484134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4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97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2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  <p:sldLayoutId id="2147484057" r:id="rId13"/>
    <p:sldLayoutId id="2147484059" r:id="rId14"/>
    <p:sldLayoutId id="2147484061" r:id="rId15"/>
    <p:sldLayoutId id="2147484062" r:id="rId16"/>
    <p:sldLayoutId id="2147484064" r:id="rId17"/>
    <p:sldLayoutId id="2147484107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8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8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2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8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0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4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8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34.jpeg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33.jpeg"/><Relationship Id="rId11" Type="http://schemas.openxmlformats.org/officeDocument/2006/relationships/image" Target="../media/image38.jpeg"/><Relationship Id="rId5" Type="http://schemas.openxmlformats.org/officeDocument/2006/relationships/image" Target="../media/image1.emf"/><Relationship Id="rId10" Type="http://schemas.openxmlformats.org/officeDocument/2006/relationships/image" Target="../media/image37.jpeg"/><Relationship Id="rId4" Type="http://schemas.openxmlformats.org/officeDocument/2006/relationships/oleObject" Target="../embeddings/oleObject139.bin"/><Relationship Id="rId9" Type="http://schemas.openxmlformats.org/officeDocument/2006/relationships/image" Target="../media/image36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68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10" Type="http://schemas.openxmlformats.org/officeDocument/2006/relationships/image" Target="../media/image47.jpeg"/><Relationship Id="rId4" Type="http://schemas.openxmlformats.org/officeDocument/2006/relationships/image" Target="../media/image41.png"/><Relationship Id="rId9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5" Type="http://schemas.microsoft.com/office/2007/relationships/hdphoto" Target="../media/hdphoto2.wdp"/><Relationship Id="rId4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8.png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6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0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8.jpeg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27.jpeg"/><Relationship Id="rId11" Type="http://schemas.openxmlformats.org/officeDocument/2006/relationships/image" Target="../media/image32.jpeg"/><Relationship Id="rId5" Type="http://schemas.openxmlformats.org/officeDocument/2006/relationships/image" Target="../media/image1.emf"/><Relationship Id="rId10" Type="http://schemas.openxmlformats.org/officeDocument/2006/relationships/image" Target="../media/image31.jpeg"/><Relationship Id="rId4" Type="http://schemas.openxmlformats.org/officeDocument/2006/relationships/oleObject" Target="../embeddings/oleObject139.bin"/><Relationship Id="rId9" Type="http://schemas.openxmlformats.org/officeDocument/2006/relationships/image" Target="../media/image3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79FF9B29-E0A3-4140-90B5-143448320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9145" y="6041122"/>
            <a:ext cx="12305338" cy="455176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Offering a premium experience for a discerning, affluent audienc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9B8D1FE-AC1E-49F1-96C7-5FC7ED6F7D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9145" y="5173902"/>
            <a:ext cx="12331696" cy="709383"/>
          </a:xfrm>
        </p:spPr>
        <p:txBody>
          <a:bodyPr/>
          <a:lstStyle/>
          <a:p>
            <a:r>
              <a:rPr lang="en-US" dirty="0"/>
              <a:t>Dcm independent CINEMAs</a:t>
            </a:r>
            <a:endParaRPr lang="en-GB" dirty="0"/>
          </a:p>
        </p:txBody>
      </p:sp>
      <p:pic>
        <p:nvPicPr>
          <p:cNvPr id="9" name="Picture Placeholder 6">
            <a:extLst>
              <a:ext uri="{FF2B5EF4-FFF2-40B4-BE49-F238E27FC236}">
                <a16:creationId xmlns:a16="http://schemas.microsoft.com/office/drawing/2014/main" id="{B14D75B7-1B79-4816-9904-D05E54A030D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924983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1" name="Object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…But they ALSO ENJOY blockbusters TOO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 bwMode="gray">
          <a:xfrm>
            <a:off x="264801" y="687033"/>
            <a:ext cx="12423740" cy="436608"/>
          </a:xfrm>
        </p:spPr>
        <p:txBody>
          <a:bodyPr/>
          <a:lstStyle/>
          <a:p>
            <a:r>
              <a:rPr lang="en-US" dirty="0"/>
              <a:t>Independent cinemagoers also seek out quality blockbuster entertainment across the year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AD1E0E6D-62E1-4EBD-8114-217590742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60" y="4127622"/>
            <a:ext cx="1992098" cy="248390"/>
          </a:xfrm>
        </p:spPr>
        <p:txBody>
          <a:bodyPr/>
          <a:lstStyle/>
          <a:p>
            <a:r>
              <a:rPr lang="en-GB" dirty="0" err="1"/>
              <a:t>Rocketman</a:t>
            </a:r>
            <a:endParaRPr lang="en-GB" dirty="0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8F08C040-2A94-4C25-9EFF-61BDE7BD8F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1061" y="4306649"/>
            <a:ext cx="1987378" cy="319003"/>
          </a:xfrm>
        </p:spPr>
        <p:txBody>
          <a:bodyPr/>
          <a:lstStyle/>
          <a:p>
            <a:r>
              <a:rPr lang="en-GB" dirty="0"/>
              <a:t>Index: 224</a:t>
            </a:r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49A714E1-E7AD-49A4-A18C-D10F3F632A0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531931" y="5273419"/>
            <a:ext cx="1964145" cy="205938"/>
          </a:xfrm>
        </p:spPr>
        <p:txBody>
          <a:bodyPr/>
          <a:lstStyle/>
          <a:p>
            <a:r>
              <a:rPr lang="en-GB" dirty="0"/>
              <a:t>Mamma Mia: Here We Go Again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92C4B88B-2487-4974-A96D-53BC74B3A65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28581" y="5472588"/>
            <a:ext cx="1964145" cy="369882"/>
          </a:xfrm>
        </p:spPr>
        <p:txBody>
          <a:bodyPr/>
          <a:lstStyle/>
          <a:p>
            <a:r>
              <a:rPr lang="en-GB" dirty="0"/>
              <a:t>Index: 198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2DACF94F-452E-407F-A8D8-FB458950152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70102" y="4394761"/>
            <a:ext cx="1989981" cy="205938"/>
          </a:xfrm>
        </p:spPr>
        <p:txBody>
          <a:bodyPr/>
          <a:lstStyle/>
          <a:p>
            <a:r>
              <a:rPr lang="en-GB" dirty="0"/>
              <a:t>Toy Story 4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64052D32-08E1-4BD4-986D-854EE7E0EE0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70102" y="4573788"/>
            <a:ext cx="1989981" cy="319003"/>
          </a:xfrm>
        </p:spPr>
        <p:txBody>
          <a:bodyPr/>
          <a:lstStyle/>
          <a:p>
            <a:r>
              <a:rPr lang="en-GB" dirty="0"/>
              <a:t>Index: 135</a:t>
            </a: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FDA970B4-7EFD-4882-934A-7C92449D3B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804489" y="5280928"/>
            <a:ext cx="1981061" cy="205938"/>
          </a:xfrm>
        </p:spPr>
        <p:txBody>
          <a:bodyPr/>
          <a:lstStyle/>
          <a:p>
            <a:r>
              <a:rPr lang="en-GB" dirty="0"/>
              <a:t>Knives Out</a:t>
            </a: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0EBD9F3-EDB2-4312-A20A-35A55D809BB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804489" y="5459956"/>
            <a:ext cx="1981061" cy="319003"/>
          </a:xfrm>
        </p:spPr>
        <p:txBody>
          <a:bodyPr/>
          <a:lstStyle/>
          <a:p>
            <a:r>
              <a:rPr lang="en-GB" dirty="0"/>
              <a:t>Index: 189</a:t>
            </a:r>
          </a:p>
        </p:txBody>
      </p: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DEDFAFD7-46BC-45F0-95CC-AB9D25922AB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46441" y="4138089"/>
            <a:ext cx="1985747" cy="205938"/>
          </a:xfrm>
        </p:spPr>
        <p:txBody>
          <a:bodyPr/>
          <a:lstStyle/>
          <a:p>
            <a:r>
              <a:rPr lang="en-GB" dirty="0"/>
              <a:t>Star Wars: The Rise of Skywalker</a:t>
            </a:r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8D44B506-2BF1-4184-9001-2735C7180E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46441" y="4475962"/>
            <a:ext cx="1985747" cy="319003"/>
          </a:xfrm>
        </p:spPr>
        <p:txBody>
          <a:bodyPr/>
          <a:lstStyle/>
          <a:p>
            <a:r>
              <a:rPr lang="en-GB" dirty="0"/>
              <a:t>Index: 165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E6A333B6-6ED5-4228-8C55-FA5D283BFEA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1093963" y="5273419"/>
            <a:ext cx="1979397" cy="205938"/>
          </a:xfrm>
        </p:spPr>
        <p:txBody>
          <a:bodyPr/>
          <a:lstStyle/>
          <a:p>
            <a:r>
              <a:rPr lang="en-GB" dirty="0"/>
              <a:t>Tenet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C940CFA2-3586-4139-AD05-3E426943E90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1093963" y="5450872"/>
            <a:ext cx="1979397" cy="319003"/>
          </a:xfrm>
        </p:spPr>
        <p:txBody>
          <a:bodyPr/>
          <a:lstStyle/>
          <a:p>
            <a:r>
              <a:rPr lang="en-GB" dirty="0"/>
              <a:t>Index: 185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5"/>
          </p:nvPr>
        </p:nvSpPr>
        <p:spPr bwMode="gray">
          <a:xfrm>
            <a:off x="7369259" y="7173503"/>
            <a:ext cx="5977218" cy="308472"/>
          </a:xfrm>
        </p:spPr>
        <p:txBody>
          <a:bodyPr anchor="ctr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GB TGI.. Base: Picturehouse or Independent Cinemagoers (Most Often). Q: Films Seen in Last 6 Months.</a:t>
            </a:r>
          </a:p>
        </p:txBody>
      </p:sp>
      <p:pic>
        <p:nvPicPr>
          <p:cNvPr id="21" name="Picture Placeholder 20">
            <a:extLst>
              <a:ext uri="{FF2B5EF4-FFF2-40B4-BE49-F238E27FC236}">
                <a16:creationId xmlns:a16="http://schemas.microsoft.com/office/drawing/2014/main" id="{1FD8A4A4-CDD6-45AC-9A75-B758F0699BF8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1932" y="1965931"/>
            <a:ext cx="1992314" cy="2312709"/>
          </a:xfrm>
        </p:spPr>
      </p:pic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AE1E11BA-6FFB-45A9-9F69-A3543E299FDC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04489" y="2806107"/>
            <a:ext cx="1981061" cy="2316354"/>
          </a:xfrm>
        </p:spPr>
      </p:pic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5346AC23-2FEA-407B-9993-4854C50F28D2}"/>
              </a:ext>
            </a:extLst>
          </p:cNvPr>
          <p:cNvPicPr>
            <a:picLocks noGrp="1" noChangeAspect="1"/>
          </p:cNvPicPr>
          <p:nvPr>
            <p:ph type="pic" sz="quarter" idx="28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46441" y="1704525"/>
            <a:ext cx="1992314" cy="2312710"/>
          </a:xfrm>
        </p:spPr>
      </p:pic>
      <p:pic>
        <p:nvPicPr>
          <p:cNvPr id="33" name="Picture Placeholder 27">
            <a:extLst>
              <a:ext uri="{FF2B5EF4-FFF2-40B4-BE49-F238E27FC236}">
                <a16:creationId xmlns:a16="http://schemas.microsoft.com/office/drawing/2014/main" id="{5616D84D-FD2F-43BA-BBD2-56F749E101E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22" name="Picture Placeholder 21">
            <a:extLst>
              <a:ext uri="{FF2B5EF4-FFF2-40B4-BE49-F238E27FC236}">
                <a16:creationId xmlns:a16="http://schemas.microsoft.com/office/drawing/2014/main" id="{ACFFD879-C0C4-4F7A-91D4-770D4A00E7F9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25"/>
          <a:stretch/>
        </p:blipFill>
        <p:spPr>
          <a:xfrm>
            <a:off x="11097313" y="2804534"/>
            <a:ext cx="1992314" cy="2335342"/>
          </a:xfrm>
        </p:spPr>
      </p:pic>
      <p:pic>
        <p:nvPicPr>
          <p:cNvPr id="32" name="Picture Placeholder 31">
            <a:extLst>
              <a:ext uri="{FF2B5EF4-FFF2-40B4-BE49-F238E27FC236}">
                <a16:creationId xmlns:a16="http://schemas.microsoft.com/office/drawing/2014/main" id="{66BFF4BF-70FB-424B-8A06-C1478BDCE80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31931" y="2806107"/>
            <a:ext cx="1992314" cy="2316354"/>
          </a:xfrm>
        </p:spPr>
      </p:pic>
    </p:spTree>
    <p:extLst>
      <p:ext uri="{BB962C8B-B14F-4D97-AF65-F5344CB8AC3E}">
        <p14:creationId xmlns:p14="http://schemas.microsoft.com/office/powerpoint/2010/main" val="4014100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Independent AUDIENCE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552F7D8-3CA1-4A5D-8DF2-1B9D45863DD9}"/>
              </a:ext>
            </a:extLst>
          </p:cNvPr>
          <p:cNvSpPr/>
          <p:nvPr/>
        </p:nvSpPr>
        <p:spPr>
          <a:xfrm>
            <a:off x="4650158" y="2071420"/>
            <a:ext cx="4144902" cy="4298851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617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4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73598B04-00EE-48B8-8924-5329A5CAACA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25891" y="1494716"/>
            <a:ext cx="4036622" cy="214058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GB" sz="1400" dirty="0">
                <a:solidFill>
                  <a:schemeClr val="accent3"/>
                </a:solidFill>
              </a:rPr>
              <a:t>Demographics</a:t>
            </a:r>
          </a:p>
          <a:p>
            <a:r>
              <a:rPr lang="en-GB" sz="1400" dirty="0">
                <a:solidFill>
                  <a:schemeClr val="accent6"/>
                </a:solidFill>
              </a:rPr>
              <a:t>Independents attracts an affluent audienc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FF68EEAC-B9A7-4B07-811E-A55DAFF56F0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650156" y="1494716"/>
            <a:ext cx="4036622" cy="214058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GB" sz="1400" dirty="0">
                <a:solidFill>
                  <a:schemeClr val="accent3"/>
                </a:solidFill>
              </a:rPr>
              <a:t>Lifestyle</a:t>
            </a:r>
          </a:p>
          <a:p>
            <a:r>
              <a:rPr lang="en-GB" sz="1400" dirty="0">
                <a:solidFill>
                  <a:schemeClr val="accent6"/>
                </a:solidFill>
              </a:rPr>
              <a:t>Heritage and quality are key choice drivers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2162A53C-563D-4051-AEE7-AE78F7EF528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8998829" y="1494716"/>
            <a:ext cx="4036622" cy="214058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GB" sz="1400" dirty="0">
                <a:solidFill>
                  <a:schemeClr val="accent3"/>
                </a:solidFill>
              </a:rPr>
              <a:t>Media habits</a:t>
            </a:r>
          </a:p>
          <a:p>
            <a:r>
              <a:rPr lang="en-GB" sz="1400" dirty="0">
                <a:solidFill>
                  <a:schemeClr val="accent6"/>
                </a:solidFill>
              </a:rPr>
              <a:t>Enjoy a range of premium media outlet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F0CFF91-E42F-4AEF-AFB6-96BC21798E7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371216" y="7146089"/>
            <a:ext cx="5977219" cy="308472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860"/>
              </a:lnSpc>
            </a:pPr>
            <a:r>
              <a:rPr lang="en-GB" sz="800" b="0" dirty="0">
                <a:solidFill>
                  <a:schemeClr val="bg1"/>
                </a:solidFill>
              </a:rPr>
              <a:t>Source: GB TGI March 2021 (Feb 2020 – Jan 2021) </a:t>
            </a:r>
          </a:p>
          <a:p>
            <a:pPr algn="r">
              <a:lnSpc>
                <a:spcPts val="750"/>
              </a:lnSpc>
            </a:pPr>
            <a:r>
              <a:rPr lang="en-GB" sz="800" b="0" dirty="0">
                <a:solidFill>
                  <a:schemeClr val="bg1"/>
                </a:solidFill>
              </a:rPr>
              <a:t>Curzon, Picturehouse or Independent = Cinema most visited often</a:t>
            </a:r>
          </a:p>
          <a:p>
            <a:pPr algn="r">
              <a:lnSpc>
                <a:spcPts val="750"/>
              </a:lnSpc>
            </a:pPr>
            <a:r>
              <a:rPr lang="en-GB" sz="800" b="0" dirty="0">
                <a:solidFill>
                  <a:schemeClr val="bg1"/>
                </a:solidFill>
              </a:rPr>
              <a:t>Index vs. average GB adult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BAAB594-8B6D-4C89-A030-17AD02889A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654659"/>
              </p:ext>
            </p:extLst>
          </p:nvPr>
        </p:nvGraphicFramePr>
        <p:xfrm>
          <a:off x="409767" y="2071420"/>
          <a:ext cx="4052746" cy="42988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67623">
                  <a:extLst>
                    <a:ext uri="{9D8B030D-6E8A-4147-A177-3AD203B41FA5}">
                      <a16:colId xmlns:a16="http://schemas.microsoft.com/office/drawing/2014/main" val="3573705866"/>
                    </a:ext>
                  </a:extLst>
                </a:gridCol>
                <a:gridCol w="1648326">
                  <a:extLst>
                    <a:ext uri="{9D8B030D-6E8A-4147-A177-3AD203B41FA5}">
                      <a16:colId xmlns:a16="http://schemas.microsoft.com/office/drawing/2014/main" val="3768285908"/>
                    </a:ext>
                  </a:extLst>
                </a:gridCol>
                <a:gridCol w="1636797">
                  <a:extLst>
                    <a:ext uri="{9D8B030D-6E8A-4147-A177-3AD203B41FA5}">
                      <a16:colId xmlns:a16="http://schemas.microsoft.com/office/drawing/2014/main" val="3768755172"/>
                    </a:ext>
                  </a:extLst>
                </a:gridCol>
              </a:tblGrid>
              <a:tr h="630548">
                <a:tc>
                  <a:txBody>
                    <a:bodyPr/>
                    <a:lstStyle/>
                    <a:p>
                      <a:pPr>
                        <a:lnSpc>
                          <a:spcPts val="1500"/>
                        </a:lnSpc>
                      </a:pPr>
                      <a:endParaRPr lang="en-GB" sz="1500" dirty="0">
                        <a:ln>
                          <a:noFill/>
                        </a:ln>
                        <a:solidFill>
                          <a:schemeClr val="bg1"/>
                        </a:solidFill>
                      </a:endParaRPr>
                    </a:p>
                  </a:txBody>
                  <a:tcPr marL="88336" marR="88336" marT="44167" marB="44167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en-GB" sz="1200" b="1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</a:rPr>
                        <a:t>Independent  cinemagoer</a:t>
                      </a:r>
                      <a:endParaRPr lang="en-GB" sz="1200" b="1" baseline="30000" dirty="0">
                        <a:ln>
                          <a:noFill/>
                        </a:ln>
                        <a:solidFill>
                          <a:schemeClr val="bg1"/>
                        </a:solidFill>
                      </a:endParaRPr>
                    </a:p>
                  </a:txBody>
                  <a:tcPr marL="173889" marR="88336" marT="44167" marB="441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en-GB" sz="12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</a:rPr>
                        <a:t>Average GB</a:t>
                      </a:r>
                    </a:p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en-GB" sz="12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</a:rPr>
                        <a:t>adult profile</a:t>
                      </a:r>
                      <a:endParaRPr lang="en-GB" sz="1200" baseline="30000" dirty="0">
                        <a:ln>
                          <a:noFill/>
                        </a:ln>
                        <a:solidFill>
                          <a:schemeClr val="accent6"/>
                        </a:solidFill>
                      </a:endParaRPr>
                    </a:p>
                  </a:txBody>
                  <a:tcPr marL="173889" marR="88336" marT="44167" marB="4416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4366705"/>
                  </a:ext>
                </a:extLst>
              </a:tr>
              <a:tr h="733661"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en-GB" sz="12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</a:rPr>
                        <a:t>15-34</a:t>
                      </a:r>
                    </a:p>
                  </a:txBody>
                  <a:tcPr marL="0" marR="88336" marT="44167" marB="44167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2600" b="1" kern="120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28%</a:t>
                      </a:r>
                    </a:p>
                  </a:txBody>
                  <a:tcPr marL="173889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2600" b="1" kern="120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31%</a:t>
                      </a:r>
                    </a:p>
                  </a:txBody>
                  <a:tcPr marL="173889" marR="88336" marT="44167" marB="44167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0711343"/>
                  </a:ext>
                </a:extLst>
              </a:tr>
              <a:tr h="733661"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en-GB" sz="12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</a:rPr>
                        <a:t>35-54</a:t>
                      </a:r>
                    </a:p>
                  </a:txBody>
                  <a:tcPr marL="0" marR="88336" marT="44167" marB="44167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2600" b="1" kern="120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32%</a:t>
                      </a:r>
                    </a:p>
                  </a:txBody>
                  <a:tcPr marL="173889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2600" b="1" kern="120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30%</a:t>
                      </a:r>
                    </a:p>
                  </a:txBody>
                  <a:tcPr marL="173889" marR="88336" marT="44167" marB="44167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7485437"/>
                  </a:ext>
                </a:extLst>
              </a:tr>
              <a:tr h="733661"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en-GB" sz="12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</a:rPr>
                        <a:t>55+</a:t>
                      </a:r>
                    </a:p>
                  </a:txBody>
                  <a:tcPr marL="0" marR="88336" marT="44167" marB="44167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2600" b="1" kern="120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43%</a:t>
                      </a:r>
                    </a:p>
                  </a:txBody>
                  <a:tcPr marL="173889" marR="88336" marT="44167" marB="44167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2600" b="1" kern="120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38%</a:t>
                      </a:r>
                    </a:p>
                  </a:txBody>
                  <a:tcPr marL="173889" marR="88336" marT="44167" marB="44167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9086588"/>
                  </a:ext>
                </a:extLst>
              </a:tr>
              <a:tr h="733661">
                <a:tc>
                  <a:txBody>
                    <a:bodyPr/>
                    <a:lstStyle/>
                    <a:p>
                      <a:pPr algn="ctr">
                        <a:lnSpc>
                          <a:spcPts val="1500"/>
                        </a:lnSpc>
                      </a:pPr>
                      <a:r>
                        <a:rPr lang="en-GB" sz="12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</a:rPr>
                        <a:t>AB</a:t>
                      </a:r>
                    </a:p>
                  </a:txBody>
                  <a:tcPr marL="0" marR="88336" marT="44167" marB="44167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2600" b="1" kern="120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36%</a:t>
                      </a:r>
                    </a:p>
                  </a:txBody>
                  <a:tcPr marL="173889" marR="88336" marT="44167" marB="44167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2600" b="1" kern="120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26%</a:t>
                      </a:r>
                    </a:p>
                  </a:txBody>
                  <a:tcPr marL="173889" marR="88336" marT="44167" marB="44167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7254408"/>
                  </a:ext>
                </a:extLst>
              </a:tr>
              <a:tr h="733661">
                <a:tc>
                  <a:txBody>
                    <a:bodyPr/>
                    <a:lstStyle/>
                    <a:p>
                      <a:pPr marL="171450" indent="-171450" algn="ctr">
                        <a:lnSpc>
                          <a:spcPts val="1500"/>
                        </a:lnSpc>
                        <a:buFont typeface="Wingdings" panose="05000000000000000000" pitchFamily="2" charset="2"/>
                        <a:buChar char="Ø"/>
                      </a:pPr>
                      <a:r>
                        <a:rPr lang="en-GB" sz="12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</a:rPr>
                        <a:t>£50k</a:t>
                      </a:r>
                    </a:p>
                    <a:p>
                      <a:pPr marL="0" indent="0" algn="ctr">
                        <a:lnSpc>
                          <a:spcPts val="15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en-GB" sz="900" b="1" dirty="0">
                          <a:ln>
                            <a:noFill/>
                          </a:ln>
                          <a:solidFill>
                            <a:schemeClr val="bg1"/>
                          </a:solidFill>
                        </a:rPr>
                        <a:t>HH Income</a:t>
                      </a:r>
                    </a:p>
                  </a:txBody>
                  <a:tcPr marL="0" marR="88336" marT="44167" marB="44167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2600" b="1" kern="120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21%</a:t>
                      </a:r>
                    </a:p>
                  </a:txBody>
                  <a:tcPr marL="173889" marR="88336" marT="44167" marB="44167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GB" sz="2600" b="1" kern="1200" dirty="0">
                          <a:ln>
                            <a:noFill/>
                          </a:ln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16%</a:t>
                      </a:r>
                    </a:p>
                  </a:txBody>
                  <a:tcPr marL="173889" marR="88336" marT="44167" marB="44167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7745459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F765E5CB-1101-45C0-BD78-448B2537FC85}"/>
              </a:ext>
            </a:extLst>
          </p:cNvPr>
          <p:cNvSpPr/>
          <p:nvPr/>
        </p:nvSpPr>
        <p:spPr>
          <a:xfrm>
            <a:off x="8982705" y="2071423"/>
            <a:ext cx="4050000" cy="4298849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617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44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C72693C-C681-4D6F-97EE-7716A75981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916967" y="2300102"/>
            <a:ext cx="898498" cy="98485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D6A554B-7C96-480A-A086-35E50FDFDA8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3054" y="2208000"/>
            <a:ext cx="1049302" cy="1049302"/>
          </a:xfrm>
          <a:prstGeom prst="rect">
            <a:avLst/>
          </a:prstGeom>
        </p:spPr>
      </p:pic>
      <p:pic>
        <p:nvPicPr>
          <p:cNvPr id="19" name="Content Placeholder 18">
            <a:extLst>
              <a:ext uri="{FF2B5EF4-FFF2-40B4-BE49-F238E27FC236}">
                <a16:creationId xmlns:a16="http://schemas.microsoft.com/office/drawing/2014/main" id="{DC15F501-5B7A-4731-B9E9-6FB6C2AE55A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58886" y="3513633"/>
            <a:ext cx="1908768" cy="559506"/>
          </a:xfrm>
          <a:prstGeom prst="rect">
            <a:avLst/>
          </a:prstGeom>
        </p:spPr>
      </p:pic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90BB26A3-FCA1-49C8-8DD9-4202557069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7313183"/>
              </p:ext>
            </p:extLst>
          </p:nvPr>
        </p:nvGraphicFramePr>
        <p:xfrm>
          <a:off x="4652975" y="2071420"/>
          <a:ext cx="4140009" cy="42809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0009">
                  <a:extLst>
                    <a:ext uri="{9D8B030D-6E8A-4147-A177-3AD203B41FA5}">
                      <a16:colId xmlns:a16="http://schemas.microsoft.com/office/drawing/2014/main" val="3838071793"/>
                    </a:ext>
                  </a:extLst>
                </a:gridCol>
              </a:tblGrid>
              <a:tr h="1576387"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solidFill>
                            <a:schemeClr val="bg1"/>
                          </a:solidFill>
                        </a:rPr>
                        <a:t>I pay attention to where the products I purchase are made/grown</a:t>
                      </a:r>
                    </a:p>
                    <a:p>
                      <a:pPr algn="ctr"/>
                      <a:r>
                        <a:rPr lang="en-GB" sz="1000" b="0" dirty="0">
                          <a:solidFill>
                            <a:schemeClr val="accent6"/>
                          </a:solidFill>
                        </a:rPr>
                        <a:t>(Index: 140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3594339"/>
                  </a:ext>
                </a:extLst>
              </a:tr>
              <a:tr h="1391228"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solidFill>
                            <a:schemeClr val="bg1"/>
                          </a:solidFill>
                        </a:rPr>
                        <a:t>It’s worth paying extra for quality goods</a:t>
                      </a:r>
                    </a:p>
                    <a:p>
                      <a:pPr algn="ctr"/>
                      <a:r>
                        <a:rPr kumimoji="0" lang="en-GB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Index: 115)</a:t>
                      </a:r>
                      <a:endParaRPr lang="en-GB" sz="1900" b="1" dirty="0">
                        <a:solidFill>
                          <a:schemeClr val="accent6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4960348"/>
                  </a:ext>
                </a:extLst>
              </a:tr>
              <a:tr h="1313304">
                <a:tc>
                  <a:txBody>
                    <a:bodyPr/>
                    <a:lstStyle/>
                    <a:p>
                      <a:pPr algn="ctr"/>
                      <a:r>
                        <a:rPr lang="en-GB" sz="1800" b="1" dirty="0">
                          <a:solidFill>
                            <a:schemeClr val="bg1"/>
                          </a:solidFill>
                        </a:rPr>
                        <a:t>I buy Fair Trade products when available </a:t>
                      </a:r>
                    </a:p>
                    <a:p>
                      <a:pPr algn="ctr"/>
                      <a:r>
                        <a:rPr lang="en-GB" sz="1000" b="0" dirty="0">
                          <a:solidFill>
                            <a:schemeClr val="accent6"/>
                          </a:solidFill>
                        </a:rPr>
                        <a:t>(Index: 133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6060638"/>
                  </a:ext>
                </a:extLst>
              </a:tr>
            </a:tbl>
          </a:graphicData>
        </a:graphic>
      </p:graphicFrame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F92E60B7-BAFF-4EE3-8DD9-C114EF34DEF2}"/>
              </a:ext>
            </a:extLst>
          </p:cNvPr>
          <p:cNvSpPr txBox="1">
            <a:spLocks/>
          </p:cNvSpPr>
          <p:nvPr/>
        </p:nvSpPr>
        <p:spPr>
          <a:xfrm>
            <a:off x="193800" y="575863"/>
            <a:ext cx="12423740" cy="436608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pendent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B600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nema gives brands the opportunity to engage a discerning, affluent audience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129604-DCF2-47D3-929E-374D7C3E995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6912" y="2300102"/>
            <a:ext cx="587254" cy="81970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391BD9-39AC-4E73-A887-77F8C9FBB9E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99" t="9911" r="5501" b="13886"/>
          <a:stretch/>
        </p:blipFill>
        <p:spPr>
          <a:xfrm>
            <a:off x="11219986" y="5416755"/>
            <a:ext cx="1386569" cy="71912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A289D8D-C6FA-4D4B-B567-3DACD3B24F8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76912" y="4440518"/>
            <a:ext cx="1391299" cy="70310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3DAF368-21F2-43E7-BC19-B80B23A3E698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7653" y="4339289"/>
            <a:ext cx="1605610" cy="90556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7F756A1-1B2A-4F62-A8DC-FD048C31297E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7532" y="3581481"/>
            <a:ext cx="1318814" cy="72534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E6E87A9-3852-4CC3-A13B-A3179B9EC467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60590" y="5369484"/>
            <a:ext cx="1386568" cy="725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8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7140290" y="5755519"/>
            <a:ext cx="4854066" cy="914400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>
              <a:lnSpc>
                <a:spcPts val="1000"/>
              </a:lnSpc>
            </a:pPr>
            <a:endParaRPr lang="en-GB" sz="2000" dirty="0">
              <a:solidFill>
                <a:srgbClr val="FFFFFF"/>
              </a:solidFill>
            </a:endParaRPr>
          </a:p>
          <a:p>
            <a:pPr algn="ctr"/>
            <a:r>
              <a:rPr lang="en-GB" sz="2000" b="1" dirty="0">
                <a:solidFill>
                  <a:srgbClr val="FFFFFF"/>
                </a:solidFill>
              </a:rPr>
              <a:t>42% of independent cinemagoers </a:t>
            </a:r>
          </a:p>
          <a:p>
            <a:pPr algn="ctr"/>
            <a:r>
              <a:rPr lang="en-GB" sz="1200" dirty="0">
                <a:solidFill>
                  <a:srgbClr val="FFFFFF"/>
                </a:solidFill>
              </a:rPr>
              <a:t>go shopping, or for food and drink after their cinema trip</a:t>
            </a:r>
          </a:p>
          <a:p>
            <a:pPr lvl="1" algn="ctr">
              <a:lnSpc>
                <a:spcPct val="100000"/>
              </a:lnSpc>
            </a:pPr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CM’S INDEPENDENT CINEMAS OFFER BRANDS NATIONAL COVeRAGE</a:t>
            </a:r>
          </a:p>
        </p:txBody>
      </p:sp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7140290" y="1068748"/>
            <a:ext cx="4854066" cy="44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1844" rtl="0" eaLnBrk="1" latinLnBrk="0" hangingPunct="1">
              <a:lnSpc>
                <a:spcPts val="1684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/>
              <a:t>Number of independent cinemas on a high street, </a:t>
            </a:r>
          </a:p>
          <a:p>
            <a:pPr algn="ctr"/>
            <a:r>
              <a:rPr lang="en-GB" dirty="0"/>
              <a:t>retail park or in a shopping centre</a:t>
            </a:r>
          </a:p>
        </p:txBody>
      </p:sp>
      <p:graphicFrame>
        <p:nvGraphicFramePr>
          <p:cNvPr id="17" name="Chart 16"/>
          <p:cNvGraphicFramePr/>
          <p:nvPr>
            <p:extLst>
              <p:ext uri="{D42A27DB-BD31-4B8C-83A1-F6EECF244321}">
                <p14:modId xmlns:p14="http://schemas.microsoft.com/office/powerpoint/2010/main" val="2545883702"/>
              </p:ext>
            </p:extLst>
          </p:nvPr>
        </p:nvGraphicFramePr>
        <p:xfrm>
          <a:off x="7125210" y="1722309"/>
          <a:ext cx="6189338" cy="3821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ext Placeholder 13"/>
          <p:cNvSpPr>
            <a:spLocks noGrp="1"/>
          </p:cNvSpPr>
          <p:nvPr>
            <p:ph type="body" sz="quarter" idx="15"/>
          </p:nvPr>
        </p:nvSpPr>
        <p:spPr bwMode="gray">
          <a:xfrm>
            <a:off x="8805836" y="7177077"/>
            <a:ext cx="4482208" cy="308472"/>
          </a:xfrm>
        </p:spPr>
        <p:txBody>
          <a:bodyPr anchor="ctr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s: DCM Cinemapper &amp; FAME 2019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1EBBC1-9D0D-4DE0-A79B-896EBFC0AC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4606" y="1030494"/>
            <a:ext cx="4399213" cy="5668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3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DEPENDENT CINEMA CAMPAIGN SUCCESS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DD991C-101B-460B-9A6D-11EB615089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70439" y="4420078"/>
            <a:ext cx="4033068" cy="297159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Max Factor became the first ever partner of DCM’s flagship boutique estate cinemas. Alongside screentime activity running across all titles in these cinemas the partnership also extended to off-screen activations including exclusive premiere events, online &amp; social media presence and competitions.</a:t>
            </a:r>
          </a:p>
          <a:p>
            <a:endParaRPr lang="en-US" dirty="0"/>
          </a:p>
          <a:p>
            <a:r>
              <a:rPr lang="en-US" dirty="0"/>
              <a:t>The cinema activity helped re-affirm Max Factor’s association with Hollywood glamour and re-enforced perceptions of quality. The tutorial creatives also helped drive consideration of Max Factor’s key products and ultimately helped drive sales:</a:t>
            </a:r>
          </a:p>
          <a:p>
            <a:endParaRPr lang="en-US" dirty="0"/>
          </a:p>
          <a:p>
            <a:r>
              <a:rPr lang="en-US" dirty="0"/>
              <a:t>Healthy Skin Harmony saw 3.5% value sales growth when the foundation category is in overall decline and Max Factor was the number 1 selling brand in Boots across the key December period. </a:t>
            </a:r>
            <a:endParaRPr lang="en-GB" dirty="0"/>
          </a:p>
          <a:p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698231F-EADC-4BA8-B674-EBC87AA8A50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69631" y="4420078"/>
            <a:ext cx="3899108" cy="270903"/>
          </a:xfrm>
        </p:spPr>
        <p:txBody>
          <a:bodyPr/>
          <a:lstStyle/>
          <a:p>
            <a:r>
              <a:rPr lang="en-GB" dirty="0"/>
              <a:t>Hop House 13 became the headline partner of Picturehouse’s ‘Discover Tuesdays’ – encouraging consumers to discover Guinness’ lager for the first time alongside a new film.</a:t>
            </a:r>
          </a:p>
          <a:p>
            <a:endParaRPr lang="en-GB" dirty="0"/>
          </a:p>
          <a:p>
            <a:r>
              <a:rPr lang="en-GB" dirty="0"/>
              <a:t>‘Hop House 13’ owned Discover Tuesdays as part of a year-long partnership incorporating a 30” on-screen advert, in foyer activations, bar stocking, online banners, social media and newsletter branding. </a:t>
            </a:r>
          </a:p>
          <a:p>
            <a:endParaRPr lang="en-GB" dirty="0"/>
          </a:p>
          <a:p>
            <a:r>
              <a:rPr lang="en-GB" dirty="0"/>
              <a:t>The results proved significant for Hop House 13 - across the 12 month partnership almost 35,000 units were sold across Picturehouse’s 23 cinemas.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30FDE6B-6AAB-476A-B007-0300C3FC6F5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17944" y="4420078"/>
            <a:ext cx="3899108" cy="270903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Volkswagen supported independent cinema for over a decade; a partnership that has delivered clear long-term benefit by establishing a strong bond between the brand and a business critical audience. </a:t>
            </a:r>
          </a:p>
          <a:p>
            <a:endParaRPr lang="en-US" dirty="0"/>
          </a:p>
          <a:p>
            <a:r>
              <a:rPr lang="en-US" dirty="0"/>
              <a:t>When the sponsorship began, 29% of those exposed said that they would consider a Volkswagen in the future - within three years this had more than doubled, reaching 64% (Source: CAA 2007). </a:t>
            </a:r>
          </a:p>
          <a:p>
            <a:endParaRPr lang="en-US" dirty="0"/>
          </a:p>
          <a:p>
            <a:r>
              <a:rPr lang="en-US" dirty="0"/>
              <a:t>Those exposed to the campaign are twice as likely to consider Volkswagen as their number one choice than those who aren’t (Source: Hall &amp; Partners 2014).</a:t>
            </a:r>
          </a:p>
          <a:p>
            <a:endParaRPr lang="en-US" dirty="0"/>
          </a:p>
          <a:p>
            <a:r>
              <a:rPr lang="en-US" dirty="0"/>
              <a:t>As well as shifting brand perceptions and consideration metrics the sponsorship has also helped sell more cars. VW’s market share has grown by 22% in the 10 years from 2004 (7.1% to 8.7% in 2014). 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DEABA05-D039-4BC4-BC38-1BB085524F3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0439" y="1040103"/>
            <a:ext cx="4033068" cy="214058"/>
          </a:xfrm>
        </p:spPr>
        <p:txBody>
          <a:bodyPr/>
          <a:lstStyle/>
          <a:p>
            <a:r>
              <a:rPr lang="en-GB" dirty="0"/>
              <a:t>Max Factor</a:t>
            </a:r>
          </a:p>
          <a:p>
            <a:r>
              <a:rPr lang="en-GB" dirty="0">
                <a:solidFill>
                  <a:schemeClr val="accent6"/>
                </a:solidFill>
              </a:rPr>
              <a:t>Get The Look @ Boutique cinemas 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D5826F0-01A3-493D-A8F1-4B5FE055F411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69631" y="1040103"/>
            <a:ext cx="4033068" cy="214058"/>
          </a:xfrm>
        </p:spPr>
        <p:txBody>
          <a:bodyPr/>
          <a:lstStyle/>
          <a:p>
            <a:r>
              <a:rPr lang="en-GB" dirty="0"/>
              <a:t>Hop House 13</a:t>
            </a:r>
          </a:p>
          <a:p>
            <a:r>
              <a:rPr lang="en-GB" dirty="0">
                <a:solidFill>
                  <a:schemeClr val="accent6"/>
                </a:solidFill>
              </a:rPr>
              <a:t>Discover Tuesdays @ </a:t>
            </a:r>
            <a:r>
              <a:rPr lang="en-GB" dirty="0" err="1">
                <a:solidFill>
                  <a:schemeClr val="accent6"/>
                </a:solidFill>
              </a:rPr>
              <a:t>Picturehouse</a:t>
            </a:r>
            <a:endParaRPr lang="en-GB" dirty="0">
              <a:solidFill>
                <a:schemeClr val="accent6"/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46A52D5-DBD9-47F8-B775-2B6ED32E461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017944" y="1040103"/>
            <a:ext cx="4033068" cy="214058"/>
          </a:xfrm>
        </p:spPr>
        <p:txBody>
          <a:bodyPr/>
          <a:lstStyle/>
          <a:p>
            <a:r>
              <a:rPr lang="en-GB" dirty="0"/>
              <a:t>Volkswagen</a:t>
            </a:r>
          </a:p>
          <a:p>
            <a:r>
              <a:rPr lang="en-GB" dirty="0">
                <a:solidFill>
                  <a:schemeClr val="accent6"/>
                </a:solidFill>
              </a:rPr>
              <a:t>Independent cinema sponsorship</a:t>
            </a:r>
          </a:p>
        </p:txBody>
      </p:sp>
      <p:pic>
        <p:nvPicPr>
          <p:cNvPr id="27" name="Picture Placeholder 26">
            <a:extLst>
              <a:ext uri="{FF2B5EF4-FFF2-40B4-BE49-F238E27FC236}">
                <a16:creationId xmlns:a16="http://schemas.microsoft.com/office/drawing/2014/main" id="{3066D7D4-A26D-4E07-834A-83F9C3E172F7}"/>
              </a:ext>
            </a:extLst>
          </p:cNvPr>
          <p:cNvPicPr>
            <a:picLocks noGrp="1"/>
          </p:cNvPicPr>
          <p:nvPr>
            <p:ph type="pic" sz="quarter" idx="19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69631" y="1601788"/>
            <a:ext cx="4103688" cy="265588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8" name="Picture Placeholder 27">
            <a:extLst>
              <a:ext uri="{FF2B5EF4-FFF2-40B4-BE49-F238E27FC236}">
                <a16:creationId xmlns:a16="http://schemas.microsoft.com/office/drawing/2014/main" id="{2FEA08E9-2FF8-4BDA-905B-E8A55376F722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350" y="1601788"/>
            <a:ext cx="4129087" cy="2655887"/>
          </a:xfrm>
          <a:prstGeom prst="rect">
            <a:avLst/>
          </a:prstGeom>
        </p:spPr>
      </p:pic>
      <p:pic>
        <p:nvPicPr>
          <p:cNvPr id="29" name="Picture Placeholder 28">
            <a:extLst>
              <a:ext uri="{FF2B5EF4-FFF2-40B4-BE49-F238E27FC236}">
                <a16:creationId xmlns:a16="http://schemas.microsoft.com/office/drawing/2014/main" id="{B53E89B4-858E-4C94-948F-11917AA379B0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4638" y="1601788"/>
            <a:ext cx="4144962" cy="2655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880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68118" y="5455627"/>
            <a:ext cx="12331696" cy="709383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pic>
        <p:nvPicPr>
          <p:cNvPr id="10" name="Picture Placeholder 9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259365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4" name="Object 3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Picture 2">
            <a:extLst>
              <a:ext uri="{FF2B5EF4-FFF2-40B4-BE49-F238E27FC236}">
                <a16:creationId xmlns:a16="http://schemas.microsoft.com/office/drawing/2014/main" id="{A82E09D8-BB7B-4B3D-A642-BDB39CA4A99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75803" y="1494694"/>
            <a:ext cx="3421006" cy="1187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Title 61">
            <a:extLst>
              <a:ext uri="{FF2B5EF4-FFF2-40B4-BE49-F238E27FC236}">
                <a16:creationId xmlns:a16="http://schemas.microsoft.com/office/drawing/2014/main" id="{2915A6C9-45AF-43AF-83D8-6BA995AA0E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cap="none" dirty="0">
                <a:ln>
                  <a:noFill/>
                </a:ln>
                <a:solidFill>
                  <a:schemeClr val="bg1"/>
                </a:solidFill>
              </a:rPr>
              <a:t>DCM’S INDEPENDENT PARTNERS</a:t>
            </a:r>
            <a:endParaRPr lang="en-GB" dirty="0"/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B2AD40F-2993-46B2-A1E3-FF3F0BB5A8EB}"/>
              </a:ext>
            </a:extLst>
          </p:cNvPr>
          <p:cNvGrpSpPr/>
          <p:nvPr/>
        </p:nvGrpSpPr>
        <p:grpSpPr>
          <a:xfrm>
            <a:off x="3755951" y="3241271"/>
            <a:ext cx="2439703" cy="2382005"/>
            <a:chOff x="5520447" y="3334697"/>
            <a:chExt cx="2439703" cy="2382005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B2E94B86-6884-44D0-B350-0463F8BCE281}"/>
                </a:ext>
              </a:extLst>
            </p:cNvPr>
            <p:cNvSpPr/>
            <p:nvPr/>
          </p:nvSpPr>
          <p:spPr bwMode="auto">
            <a:xfrm>
              <a:off x="5520447" y="3334697"/>
              <a:ext cx="2439703" cy="238200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 defTabSz="914400">
                <a:defRPr/>
              </a:pPr>
              <a:endParaRPr lang="en-US" sz="1800" kern="0" dirty="0">
                <a:solidFill>
                  <a:srgbClr val="000000"/>
                </a:solidFill>
              </a:endParaRPr>
            </a:p>
          </p:txBody>
        </p:sp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64BAF2C1-B991-4193-AAD7-EE34BCC5D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0000" b="90000" l="10000" r="90000">
                          <a14:foregroundMark x1="18800" y1="49184" x2="19200" y2="57110"/>
                          <a14:foregroundMark x1="33867" y1="42657" x2="33867" y2="48485"/>
                          <a14:foregroundMark x1="34267" y1="29371" x2="34267" y2="2937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03098" y="3856928"/>
              <a:ext cx="2274399" cy="1300956"/>
            </a:xfrm>
            <a:prstGeom prst="rect">
              <a:avLst/>
            </a:prstGeom>
          </p:spPr>
        </p:pic>
      </p:grpSp>
      <p:sp>
        <p:nvSpPr>
          <p:cNvPr id="70" name="Oval 69">
            <a:extLst>
              <a:ext uri="{FF2B5EF4-FFF2-40B4-BE49-F238E27FC236}">
                <a16:creationId xmlns:a16="http://schemas.microsoft.com/office/drawing/2014/main" id="{E8D00C43-5E46-4E36-B6D1-CF6F3312E408}"/>
              </a:ext>
            </a:extLst>
          </p:cNvPr>
          <p:cNvSpPr/>
          <p:nvPr/>
        </p:nvSpPr>
        <p:spPr bwMode="auto">
          <a:xfrm>
            <a:off x="7176957" y="3241271"/>
            <a:ext cx="2439703" cy="238200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 defTabSz="914400">
              <a:defRPr/>
            </a:pPr>
            <a:r>
              <a:rPr lang="en-US" sz="2400" kern="0" dirty="0">
                <a:solidFill>
                  <a:srgbClr val="000000"/>
                </a:solidFill>
                <a:latin typeface="+mj-lt"/>
              </a:rPr>
              <a:t>+ 169 INDEPENDENT CINEMAS</a:t>
            </a:r>
          </a:p>
        </p:txBody>
      </p:sp>
    </p:spTree>
    <p:extLst>
      <p:ext uri="{BB962C8B-B14F-4D97-AF65-F5344CB8AC3E}">
        <p14:creationId xmlns:p14="http://schemas.microsoft.com/office/powerpoint/2010/main" val="117980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mp:transition xmlns:mp="http://schemas.microsoft.com/office/mac/powerpoint/2008/main" spd="med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871F0A29-9363-47E3-8F17-30DC611DE32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5726113" cy="352907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F2F6998-E160-4F79-9CC4-ECF06D5A01A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97"/>
          <a:stretch/>
        </p:blipFill>
        <p:spPr>
          <a:xfrm>
            <a:off x="-1" y="3529071"/>
            <a:ext cx="3501853" cy="356841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55DE6A5D-D0A5-4304-B5DD-46E11126B57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24083" y="3529071"/>
            <a:ext cx="3291286" cy="3568414"/>
          </a:xfrm>
          <a:prstGeom prst="rect">
            <a:avLst/>
          </a:prstGeom>
        </p:spPr>
      </p:pic>
      <p:pic>
        <p:nvPicPr>
          <p:cNvPr id="35" name="Picture Placeholder 45">
            <a:extLst>
              <a:ext uri="{FF2B5EF4-FFF2-40B4-BE49-F238E27FC236}">
                <a16:creationId xmlns:a16="http://schemas.microsoft.com/office/drawing/2014/main" id="{6A5EE77E-8833-48C2-A3EF-6DA0BA09B7A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54"/>
          <a:stretch/>
        </p:blipFill>
        <p:spPr bwMode="gray">
          <a:xfrm>
            <a:off x="9058515" y="-16080"/>
            <a:ext cx="4384435" cy="3673679"/>
          </a:xfrm>
          <a:prstGeom prst="rect">
            <a:avLst/>
          </a:prstGeom>
        </p:spPr>
      </p:pic>
      <p:pic>
        <p:nvPicPr>
          <p:cNvPr id="36" name="Picture Placeholder 18">
            <a:extLst>
              <a:ext uri="{FF2B5EF4-FFF2-40B4-BE49-F238E27FC236}">
                <a16:creationId xmlns:a16="http://schemas.microsoft.com/office/drawing/2014/main" id="{DEDEBD2A-E8FE-4D82-94F4-27C584B3095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5349423" y="-9729"/>
            <a:ext cx="3731320" cy="3538800"/>
          </a:xfrm>
          <a:prstGeom prst="rect">
            <a:avLst/>
          </a:prstGeom>
        </p:spPr>
      </p:pic>
      <p:pic>
        <p:nvPicPr>
          <p:cNvPr id="37" name="Picture Placeholder 19">
            <a:extLst>
              <a:ext uri="{FF2B5EF4-FFF2-40B4-BE49-F238E27FC236}">
                <a16:creationId xmlns:a16="http://schemas.microsoft.com/office/drawing/2014/main" id="{757F830B-E125-4362-AC33-2AEFEA6B710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15368" y="3529072"/>
            <a:ext cx="6727582" cy="3568414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665AA92-11BB-4A5A-8055-C131822FBE59}"/>
              </a:ext>
            </a:extLst>
          </p:cNvPr>
          <p:cNvGrpSpPr/>
          <p:nvPr/>
        </p:nvGrpSpPr>
        <p:grpSpPr>
          <a:xfrm>
            <a:off x="5544534" y="2613278"/>
            <a:ext cx="1800000" cy="1800000"/>
            <a:chOff x="-2224261" y="1880375"/>
            <a:chExt cx="1800000" cy="1800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9246B4A8-87B4-4D20-BDE6-B9217D571D6E}"/>
                </a:ext>
              </a:extLst>
            </p:cNvPr>
            <p:cNvSpPr/>
            <p:nvPr/>
          </p:nvSpPr>
          <p:spPr bwMode="auto">
            <a:xfrm>
              <a:off x="-2224261" y="1880375"/>
              <a:ext cx="1800000" cy="18000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28E739FF-D0A1-42E2-98A5-E20ED88042C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2080341" y="2347897"/>
              <a:ext cx="1512160" cy="86495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88803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9">
            <a:extLst>
              <a:ext uri="{FF2B5EF4-FFF2-40B4-BE49-F238E27FC236}">
                <a16:creationId xmlns:a16="http://schemas.microsoft.com/office/drawing/2014/main" id="{6C86D696-F2AA-4825-80ED-6C5ED11F4A5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6721476" y="3538798"/>
            <a:ext cx="6721474" cy="3526031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16" name="Picture Placeholder 14">
            <a:extLst>
              <a:ext uri="{FF2B5EF4-FFF2-40B4-BE49-F238E27FC236}">
                <a16:creationId xmlns:a16="http://schemas.microsoft.com/office/drawing/2014/main" id="{4CE545CF-CA95-41C0-9F2A-640B7BD5E25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1" y="3523328"/>
            <a:ext cx="6721475" cy="3541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pic>
        <p:nvPicPr>
          <p:cNvPr id="17" name="Picture Placeholder 52">
            <a:extLst>
              <a:ext uri="{FF2B5EF4-FFF2-40B4-BE49-F238E27FC236}">
                <a16:creationId xmlns:a16="http://schemas.microsoft.com/office/drawing/2014/main" id="{A4099CC3-9CB7-4B49-9133-F42973ED539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6721475" y="-1"/>
            <a:ext cx="6721475" cy="35388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ED7E2AE-D383-4C6D-A593-A0C7D047909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6721475" cy="3523328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6B314211-A59C-4929-9E4E-E526174CEB6E}"/>
              </a:ext>
            </a:extLst>
          </p:cNvPr>
          <p:cNvSpPr/>
          <p:nvPr/>
        </p:nvSpPr>
        <p:spPr bwMode="auto">
          <a:xfrm>
            <a:off x="5821473" y="2646534"/>
            <a:ext cx="1800000" cy="18000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29CA96E-03DB-4B11-B301-EDB1D4250093}"/>
              </a:ext>
            </a:extLst>
          </p:cNvPr>
          <p:cNvSpPr txBox="1"/>
          <p:nvPr/>
        </p:nvSpPr>
        <p:spPr>
          <a:xfrm>
            <a:off x="5893922" y="3134933"/>
            <a:ext cx="1655098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mpact"/>
                <a:ea typeface="+mn-ea"/>
                <a:cs typeface="+mn-cs"/>
              </a:rPr>
              <a:t>DCM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mpact"/>
                <a:ea typeface="+mn-ea"/>
                <a:cs typeface="+mn-cs"/>
              </a:rPr>
              <a:t>INDEPENDENTS</a:t>
            </a:r>
          </a:p>
        </p:txBody>
      </p:sp>
    </p:spTree>
    <p:extLst>
      <p:ext uri="{BB962C8B-B14F-4D97-AF65-F5344CB8AC3E}">
        <p14:creationId xmlns:p14="http://schemas.microsoft.com/office/powerpoint/2010/main" val="2597703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12">
            <a:extLst>
              <a:ext uri="{FF2B5EF4-FFF2-40B4-BE49-F238E27FC236}">
                <a16:creationId xmlns:a16="http://schemas.microsoft.com/office/drawing/2014/main" id="{699B43A0-08DF-2B4D-AE18-8E1BE9BA654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6721475" cy="3538800"/>
          </a:xfrm>
          <a:prstGeom prst="rect">
            <a:avLst/>
          </a:prstGeom>
        </p:spPr>
      </p:pic>
      <p:pic>
        <p:nvPicPr>
          <p:cNvPr id="6" name="Picture Placeholder 20">
            <a:extLst>
              <a:ext uri="{FF2B5EF4-FFF2-40B4-BE49-F238E27FC236}">
                <a16:creationId xmlns:a16="http://schemas.microsoft.com/office/drawing/2014/main" id="{5844AA0A-56C6-1746-B53A-49130C2A450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4701" y="3538798"/>
            <a:ext cx="7628249" cy="3538801"/>
          </a:xfrm>
          <a:prstGeom prst="rect">
            <a:avLst/>
          </a:prstGeom>
        </p:spPr>
      </p:pic>
      <p:pic>
        <p:nvPicPr>
          <p:cNvPr id="7" name="Picture Placeholder 11">
            <a:extLst>
              <a:ext uri="{FF2B5EF4-FFF2-40B4-BE49-F238E27FC236}">
                <a16:creationId xmlns:a16="http://schemas.microsoft.com/office/drawing/2014/main" id="{215341B5-28F0-494C-A2DD-04AF65E337D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721475" y="-1"/>
            <a:ext cx="6721475" cy="3538800"/>
          </a:xfrm>
          <a:prstGeom prst="rect">
            <a:avLst/>
          </a:prstGeom>
          <a:ln>
            <a:noFill/>
          </a:ln>
        </p:spPr>
      </p:pic>
      <p:pic>
        <p:nvPicPr>
          <p:cNvPr id="8" name="Picture Placeholder 22">
            <a:extLst>
              <a:ext uri="{FF2B5EF4-FFF2-40B4-BE49-F238E27FC236}">
                <a16:creationId xmlns:a16="http://schemas.microsoft.com/office/drawing/2014/main" id="{3AAC4496-AEF4-3E4B-AB1A-9EB9C4B6ADF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538799"/>
            <a:ext cx="6721475" cy="35388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2ED8B25C-F235-4BCA-8595-7FB65DBA2281}"/>
              </a:ext>
            </a:extLst>
          </p:cNvPr>
          <p:cNvGrpSpPr/>
          <p:nvPr/>
        </p:nvGrpSpPr>
        <p:grpSpPr>
          <a:xfrm>
            <a:off x="5828249" y="2638798"/>
            <a:ext cx="1800000" cy="1800000"/>
            <a:chOff x="6862624" y="3824242"/>
            <a:chExt cx="2815497" cy="281549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FB7BAF4-FC3D-4C37-99D7-388E3B82484F}"/>
                </a:ext>
              </a:extLst>
            </p:cNvPr>
            <p:cNvSpPr/>
            <p:nvPr/>
          </p:nvSpPr>
          <p:spPr bwMode="auto">
            <a:xfrm>
              <a:off x="6862624" y="3824242"/>
              <a:ext cx="2815497" cy="281549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B4FBAD3-2BCE-417A-A231-332B55640E6F}"/>
                </a:ext>
              </a:extLst>
            </p:cNvPr>
            <p:cNvSpPr txBox="1"/>
            <p:nvPr/>
          </p:nvSpPr>
          <p:spPr>
            <a:xfrm>
              <a:off x="7217155" y="5640098"/>
              <a:ext cx="2106431" cy="577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61844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797B35E-4609-4D73-AADB-037B27667BF6}"/>
                </a:ext>
              </a:extLst>
            </p:cNvPr>
            <p:cNvSpPr txBox="1"/>
            <p:nvPr/>
          </p:nvSpPr>
          <p:spPr>
            <a:xfrm>
              <a:off x="6993179" y="4285488"/>
              <a:ext cx="2588846" cy="18775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4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Impact"/>
                  <a:ea typeface="+mn-ea"/>
                  <a:cs typeface="+mn-cs"/>
                </a:rPr>
                <a:t>LATEST ADDITIONS: LONDON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6E734347-CE0C-4EB7-A48D-0EEFE78B5657}"/>
              </a:ext>
            </a:extLst>
          </p:cNvPr>
          <p:cNvSpPr/>
          <p:nvPr/>
        </p:nvSpPr>
        <p:spPr>
          <a:xfrm>
            <a:off x="30718" y="3222081"/>
            <a:ext cx="6721475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ic White Cit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5E38950-E2D3-4903-AAC9-5C3AE1A3AF34}"/>
              </a:ext>
            </a:extLst>
          </p:cNvPr>
          <p:cNvSpPr/>
          <p:nvPr/>
        </p:nvSpPr>
        <p:spPr>
          <a:xfrm>
            <a:off x="11469686" y="6739045"/>
            <a:ext cx="186461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verside Hammersmith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66599A-824E-4A16-A005-F6129CF7ABE7}"/>
              </a:ext>
            </a:extLst>
          </p:cNvPr>
          <p:cNvSpPr/>
          <p:nvPr/>
        </p:nvSpPr>
        <p:spPr>
          <a:xfrm>
            <a:off x="0" y="6739045"/>
            <a:ext cx="9765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o Dalst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14B4CCC-5B1A-4163-8D6B-9A39AA022055}"/>
              </a:ext>
            </a:extLst>
          </p:cNvPr>
          <p:cNvSpPr/>
          <p:nvPr/>
        </p:nvSpPr>
        <p:spPr>
          <a:xfrm>
            <a:off x="11924939" y="3223329"/>
            <a:ext cx="15247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chlight, Battersea</a:t>
            </a:r>
          </a:p>
        </p:txBody>
      </p:sp>
    </p:spTree>
    <p:extLst>
      <p:ext uri="{BB962C8B-B14F-4D97-AF65-F5344CB8AC3E}">
        <p14:creationId xmlns:p14="http://schemas.microsoft.com/office/powerpoint/2010/main" val="230364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ependent cinema HAS BEEN thriving IN THE UK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294773" y="658885"/>
            <a:ext cx="12423740" cy="436608"/>
          </a:xfrm>
        </p:spPr>
        <p:txBody>
          <a:bodyPr/>
          <a:lstStyle/>
          <a:p>
            <a:r>
              <a:rPr lang="en-US" dirty="0"/>
              <a:t>Independent cinema was experiencing significant growth in the UK pre-pandemic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9030501" y="1727443"/>
            <a:ext cx="2909200" cy="1853484"/>
          </a:xfrm>
          <a:prstGeom prst="wedgeRoundRectCallout">
            <a:avLst>
              <a:gd name="adj1" fmla="val 45851"/>
              <a:gd name="adj2" fmla="val 68818"/>
              <a:gd name="adj3" fmla="val 16667"/>
            </a:avLst>
          </a:prstGeom>
        </p:spPr>
        <p:txBody>
          <a:bodyPr anchor="ctr">
            <a:noAutofit/>
          </a:bodyPr>
          <a:lstStyle/>
          <a:p>
            <a:pPr fontAlgn="base"/>
            <a:r>
              <a:rPr lang="en-GB" sz="1300" dirty="0"/>
              <a:t>Indie ­theatres are the new big thing. It’s looking like a </a:t>
            </a:r>
          </a:p>
          <a:p>
            <a:pPr fontAlgn="base"/>
            <a:r>
              <a:rPr lang="en-GB" sz="1300" dirty="0"/>
              <a:t>new golden age.</a:t>
            </a:r>
          </a:p>
          <a:p>
            <a:pPr fontAlgn="base">
              <a:lnSpc>
                <a:spcPts val="1000"/>
              </a:lnSpc>
            </a:pPr>
            <a:endParaRPr lang="en-GB" sz="1300" dirty="0"/>
          </a:p>
          <a:p>
            <a:pPr lvl="2"/>
            <a:r>
              <a:rPr lang="en-GB" sz="900" dirty="0"/>
              <a:t>Nada Farhoud, The Mirror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1512991" y="4099771"/>
            <a:ext cx="5283407" cy="2011998"/>
          </a:xfrm>
          <a:prstGeom prst="wedgeRoundRectCallout">
            <a:avLst>
              <a:gd name="adj1" fmla="val -44127"/>
              <a:gd name="adj2" fmla="val 66103"/>
              <a:gd name="adj3" fmla="val 16667"/>
            </a:avLst>
          </a:prstGeom>
          <a:solidFill>
            <a:schemeClr val="accent3"/>
          </a:solidFill>
        </p:spPr>
        <p:txBody>
          <a:bodyPr anchor="ctr">
            <a:noAutofit/>
          </a:bodyPr>
          <a:lstStyle/>
          <a:p>
            <a:endParaRPr lang="en-GB" sz="1400" dirty="0"/>
          </a:p>
          <a:p>
            <a:r>
              <a:rPr lang="en-GB" sz="1300" dirty="0"/>
              <a:t>Independent cinema has never known a time like it, Indie theatres are reinventing themselves as the new entertainment hubs on </a:t>
            </a:r>
          </a:p>
          <a:p>
            <a:r>
              <a:rPr lang="en-GB" sz="1300" dirty="0"/>
              <a:t>the high street – eating into the market share of in-home </a:t>
            </a:r>
          </a:p>
          <a:p>
            <a:r>
              <a:rPr lang="en-GB" sz="1300" dirty="0"/>
              <a:t>rivals such as Netflix and Amazon Prime.</a:t>
            </a:r>
          </a:p>
          <a:p>
            <a:pPr>
              <a:lnSpc>
                <a:spcPts val="1000"/>
              </a:lnSpc>
            </a:pPr>
            <a:endParaRPr lang="en-GB" sz="1300" dirty="0"/>
          </a:p>
          <a:p>
            <a:r>
              <a:rPr lang="en-GB" sz="900" dirty="0"/>
              <a:t>Rob Walker, The Guardian</a:t>
            </a:r>
          </a:p>
          <a:p>
            <a:endParaRPr lang="en-GB" sz="140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1512991" y="1714950"/>
            <a:ext cx="3644910" cy="1865977"/>
          </a:xfrm>
          <a:prstGeom prst="wedgeRoundRectCallout">
            <a:avLst>
              <a:gd name="adj1" fmla="val 39505"/>
              <a:gd name="adj2" fmla="val 66470"/>
              <a:gd name="adj3" fmla="val 16667"/>
            </a:avLst>
          </a:prstGeom>
        </p:spPr>
        <p:txBody>
          <a:bodyPr anchor="ctr">
            <a:noAutofit/>
          </a:bodyPr>
          <a:lstStyle/>
          <a:p>
            <a:pPr fontAlgn="base"/>
            <a:r>
              <a:rPr lang="en-GB" sz="1300" dirty="0"/>
              <a:t>Independent cinemas are broadening </a:t>
            </a:r>
            <a:br>
              <a:rPr lang="en-GB" sz="1300" dirty="0"/>
            </a:br>
            <a:r>
              <a:rPr lang="en-GB" sz="1300" dirty="0"/>
              <a:t>what they offer and taking a more </a:t>
            </a:r>
            <a:br>
              <a:rPr lang="en-GB" sz="1300" dirty="0"/>
            </a:br>
            <a:r>
              <a:rPr lang="en-GB" sz="1300" dirty="0"/>
              <a:t>­fundamental role in communities.</a:t>
            </a:r>
          </a:p>
          <a:p>
            <a:pPr fontAlgn="base">
              <a:lnSpc>
                <a:spcPts val="1000"/>
              </a:lnSpc>
            </a:pPr>
            <a:endParaRPr lang="en-GB" sz="1300" dirty="0"/>
          </a:p>
          <a:p>
            <a:pPr lvl="2"/>
            <a:r>
              <a:rPr lang="en-GB" sz="900" dirty="0"/>
              <a:t>Ben </a:t>
            </a:r>
            <a:r>
              <a:rPr lang="en-GB" sz="900" dirty="0" err="1"/>
              <a:t>Luxford</a:t>
            </a:r>
            <a:r>
              <a:rPr lang="en-GB" sz="900" dirty="0"/>
              <a:t>, British Film Institute (BFI)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496726" y="1727443"/>
            <a:ext cx="3194950" cy="1853484"/>
          </a:xfrm>
          <a:prstGeom prst="wedgeRoundRectCallout">
            <a:avLst>
              <a:gd name="adj1" fmla="val 41499"/>
              <a:gd name="adj2" fmla="val -60411"/>
              <a:gd name="adj3" fmla="val 16667"/>
            </a:avLst>
          </a:prstGeom>
          <a:solidFill>
            <a:schemeClr val="bg2"/>
          </a:solidFill>
        </p:spPr>
        <p:txBody>
          <a:bodyPr anchor="ctr">
            <a:noAutofit/>
          </a:bodyPr>
          <a:lstStyle/>
          <a:p>
            <a:pPr fontAlgn="base"/>
            <a:r>
              <a:rPr lang="en-GB" sz="1300" dirty="0"/>
              <a:t>There is definitely a rise in boutique cinemas – they are tapping into a slightly different audience.</a:t>
            </a:r>
          </a:p>
          <a:p>
            <a:pPr fontAlgn="base">
              <a:lnSpc>
                <a:spcPts val="1000"/>
              </a:lnSpc>
            </a:pPr>
            <a:endParaRPr lang="en-GB" sz="1300" dirty="0"/>
          </a:p>
          <a:p>
            <a:pPr lvl="2"/>
            <a:r>
              <a:rPr lang="en-GB" sz="900" dirty="0"/>
              <a:t>Nigel Parson, Leisure Analyst, </a:t>
            </a:r>
          </a:p>
          <a:p>
            <a:pPr lvl="2"/>
            <a:r>
              <a:rPr lang="en-GB" sz="900" dirty="0" err="1"/>
              <a:t>Canaccord</a:t>
            </a:r>
            <a:r>
              <a:rPr lang="en-GB" sz="900" dirty="0"/>
              <a:t> </a:t>
            </a:r>
            <a:r>
              <a:rPr lang="en-GB" sz="900" dirty="0" err="1"/>
              <a:t>Genuity</a:t>
            </a:r>
            <a:endParaRPr lang="en-GB" sz="900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D94CD829-DEBF-49EA-82CB-3F730DF330A3}"/>
              </a:ext>
            </a:extLst>
          </p:cNvPr>
          <p:cNvSpPr txBox="1">
            <a:spLocks/>
          </p:cNvSpPr>
          <p:nvPr/>
        </p:nvSpPr>
        <p:spPr bwMode="gray">
          <a:xfrm>
            <a:off x="7119062" y="4099771"/>
            <a:ext cx="4820639" cy="2011998"/>
          </a:xfrm>
          <a:prstGeom prst="wedgeRoundRectCallout">
            <a:avLst>
              <a:gd name="adj1" fmla="val -44127"/>
              <a:gd name="adj2" fmla="val 66103"/>
              <a:gd name="adj3" fmla="val 16667"/>
            </a:avLst>
          </a:prstGeom>
          <a:solidFill>
            <a:schemeClr val="tx2"/>
          </a:solidFill>
        </p:spPr>
        <p:txBody>
          <a:bodyPr vert="horz" lIns="36000" tIns="36000" rIns="36000" bIns="36000" rtlCol="0" anchor="ctr">
            <a:noAutofit/>
          </a:bodyPr>
          <a:lstStyle>
            <a:lvl1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300" dirty="0"/>
              <a:t>We’re comfortable. We’re part of the neighbourhood, nice food and drink. And a big plus for us is the depth and range of our programming.</a:t>
            </a:r>
          </a:p>
          <a:p>
            <a:pPr>
              <a:lnSpc>
                <a:spcPts val="1000"/>
              </a:lnSpc>
            </a:pPr>
            <a:endParaRPr lang="en-GB" sz="1300" dirty="0"/>
          </a:p>
          <a:p>
            <a:r>
              <a:rPr lang="en-GB" sz="900" dirty="0"/>
              <a:t>Clare </a:t>
            </a:r>
            <a:r>
              <a:rPr lang="en-GB" sz="900" dirty="0" err="1"/>
              <a:t>Binns</a:t>
            </a:r>
            <a:r>
              <a:rPr lang="en-GB" sz="900" dirty="0"/>
              <a:t>, Picturehouse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74827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mp:transition xmlns:mp="http://schemas.microsoft.com/office/mac/powerpoint/2008/main" spd="med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QUALITY EXPERIENCE IS A KEY DRIVER FOR Independent cinema</a:t>
            </a:r>
            <a:endParaRPr lang="en-GB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/>
          </p:nvPr>
        </p:nvSpPr>
        <p:spPr bwMode="gray">
          <a:xfrm>
            <a:off x="8831633" y="7181925"/>
            <a:ext cx="4482208" cy="308472"/>
          </a:xfrm>
        </p:spPr>
        <p:txBody>
          <a:bodyPr anchor="ctr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FAME 2019. Reasons for cinema choice vs. average GB cinemagoer</a:t>
            </a:r>
          </a:p>
        </p:txBody>
      </p:sp>
      <p:pic>
        <p:nvPicPr>
          <p:cNvPr id="9" name="Picture Placeholder 53">
            <a:extLst>
              <a:ext uri="{FF2B5EF4-FFF2-40B4-BE49-F238E27FC236}">
                <a16:creationId xmlns:a16="http://schemas.microsoft.com/office/drawing/2014/main" id="{00C6D532-B360-4A24-A673-A4EAA3ADC43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1498" y="3631308"/>
            <a:ext cx="3842426" cy="2816424"/>
          </a:xfrm>
          <a:prstGeom prst="rect">
            <a:avLst/>
          </a:prstGeom>
          <a:solidFill>
            <a:schemeClr val="accent6"/>
          </a:solidFill>
        </p:spPr>
      </p:pic>
      <p:pic>
        <p:nvPicPr>
          <p:cNvPr id="14" name="Picture Placeholder 14">
            <a:extLst>
              <a:ext uri="{FF2B5EF4-FFF2-40B4-BE49-F238E27FC236}">
                <a16:creationId xmlns:a16="http://schemas.microsoft.com/office/drawing/2014/main" id="{DDA0E7D8-F50A-4DE7-B43F-3D4284A0580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99540" y="3631308"/>
            <a:ext cx="3683803" cy="2816424"/>
          </a:xfrm>
          <a:prstGeom prst="rect">
            <a:avLst/>
          </a:prstGeom>
        </p:spPr>
      </p:pic>
      <p:pic>
        <p:nvPicPr>
          <p:cNvPr id="17" name="Picture Placeholder 13">
            <a:extLst>
              <a:ext uri="{FF2B5EF4-FFF2-40B4-BE49-F238E27FC236}">
                <a16:creationId xmlns:a16="http://schemas.microsoft.com/office/drawing/2014/main" id="{67947F38-85B5-4991-AF03-BB3B9B960CF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3924" y="3631309"/>
            <a:ext cx="4675616" cy="2816423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7F70AF1-9D2F-4C12-9C68-1E29E0CB91FF}"/>
              </a:ext>
            </a:extLst>
          </p:cNvPr>
          <p:cNvSpPr/>
          <p:nvPr/>
        </p:nvSpPr>
        <p:spPr>
          <a:xfrm>
            <a:off x="481498" y="1367921"/>
            <a:ext cx="2970218" cy="1895475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rgbClr val="FFFFFF"/>
                </a:solidFill>
              </a:rPr>
              <a:t>Atmosphere</a:t>
            </a:r>
          </a:p>
          <a:p>
            <a:pPr algn="ctr"/>
            <a:r>
              <a:rPr lang="en-GB" dirty="0">
                <a:solidFill>
                  <a:srgbClr val="FFFFFF"/>
                </a:solidFill>
              </a:rPr>
              <a:t>Index: 159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6E71158D-8956-49A2-8DB7-7FF5F9A4BF1B}"/>
              </a:ext>
            </a:extLst>
          </p:cNvPr>
          <p:cNvSpPr/>
          <p:nvPr/>
        </p:nvSpPr>
        <p:spPr>
          <a:xfrm>
            <a:off x="3558707" y="1367922"/>
            <a:ext cx="2970218" cy="189547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rgbClr val="FFFFFF"/>
                </a:solidFill>
              </a:rPr>
              <a:t>Great customer </a:t>
            </a:r>
          </a:p>
          <a:p>
            <a:pPr algn="ctr"/>
            <a:r>
              <a:rPr lang="en-GB" b="1" dirty="0">
                <a:solidFill>
                  <a:srgbClr val="FFFFFF"/>
                </a:solidFill>
              </a:rPr>
              <a:t>service</a:t>
            </a:r>
          </a:p>
          <a:p>
            <a:pPr algn="ctr"/>
            <a:r>
              <a:rPr lang="en-GB" dirty="0">
                <a:solidFill>
                  <a:srgbClr val="FFFFFF"/>
                </a:solidFill>
              </a:rPr>
              <a:t>Index: 166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9AB09CB3-D6FF-4106-89CD-9EF2793E75AF}"/>
              </a:ext>
            </a:extLst>
          </p:cNvPr>
          <p:cNvSpPr/>
          <p:nvPr/>
        </p:nvSpPr>
        <p:spPr>
          <a:xfrm>
            <a:off x="6635916" y="1367922"/>
            <a:ext cx="2970218" cy="1895475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rgbClr val="FFFFFF"/>
                </a:solidFill>
              </a:rPr>
              <a:t>Café, bar or </a:t>
            </a:r>
          </a:p>
          <a:p>
            <a:pPr algn="ctr"/>
            <a:r>
              <a:rPr lang="en-GB" b="1" dirty="0">
                <a:solidFill>
                  <a:srgbClr val="FFFFFF"/>
                </a:solidFill>
              </a:rPr>
              <a:t>restaurant to enjoy </a:t>
            </a:r>
          </a:p>
          <a:p>
            <a:pPr algn="ctr"/>
            <a:r>
              <a:rPr lang="en-GB" b="1" dirty="0">
                <a:solidFill>
                  <a:srgbClr val="FFFFFF"/>
                </a:solidFill>
              </a:rPr>
              <a:t>as well as the film </a:t>
            </a:r>
          </a:p>
          <a:p>
            <a:pPr algn="ctr"/>
            <a:r>
              <a:rPr lang="en-GB" dirty="0">
                <a:solidFill>
                  <a:srgbClr val="FFFFFF"/>
                </a:solidFill>
              </a:rPr>
              <a:t>Index: 160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0FE49878-BF31-4D37-B044-7D082EF202A3}"/>
              </a:ext>
            </a:extLst>
          </p:cNvPr>
          <p:cNvSpPr/>
          <p:nvPr/>
        </p:nvSpPr>
        <p:spPr>
          <a:xfrm>
            <a:off x="9713125" y="1367922"/>
            <a:ext cx="2970218" cy="189547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>
                <a:solidFill>
                  <a:srgbClr val="FFFFFF"/>
                </a:solidFill>
              </a:rPr>
              <a:t>Membership /</a:t>
            </a:r>
          </a:p>
          <a:p>
            <a:pPr algn="ctr"/>
            <a:r>
              <a:rPr lang="en-GB" b="1" dirty="0">
                <a:solidFill>
                  <a:srgbClr val="FFFFFF"/>
                </a:solidFill>
              </a:rPr>
              <a:t>Loyalty card: </a:t>
            </a:r>
          </a:p>
          <a:p>
            <a:pPr algn="ctr"/>
            <a:r>
              <a:rPr lang="en-GB" dirty="0">
                <a:solidFill>
                  <a:srgbClr val="FFFFFF"/>
                </a:solidFill>
              </a:rPr>
              <a:t>Index: 152</a:t>
            </a:r>
          </a:p>
        </p:txBody>
      </p:sp>
    </p:spTree>
    <p:extLst>
      <p:ext uri="{BB962C8B-B14F-4D97-AF65-F5344CB8AC3E}">
        <p14:creationId xmlns:p14="http://schemas.microsoft.com/office/powerpoint/2010/main" val="1318429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FC12667-954E-4679-957D-A967673B80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-1" y="2072033"/>
            <a:ext cx="13526430" cy="3116336"/>
          </a:xfrm>
        </p:spPr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INDEPENDENT CINEMAGOERS </a:t>
            </a:r>
          </a:p>
          <a:p>
            <a:r>
              <a:rPr lang="en-GB" dirty="0">
                <a:solidFill>
                  <a:srgbClr val="FFFFFF"/>
                </a:solidFill>
              </a:rPr>
              <a:t>ARE </a:t>
            </a:r>
            <a:r>
              <a:rPr lang="en-GB" dirty="0">
                <a:solidFill>
                  <a:schemeClr val="bg1"/>
                </a:solidFill>
              </a:rPr>
              <a:t>25% MORE LIKELY </a:t>
            </a:r>
            <a:r>
              <a:rPr lang="en-GB" dirty="0">
                <a:solidFill>
                  <a:srgbClr val="FFFFFF"/>
                </a:solidFill>
              </a:rPr>
              <a:t>TO BE </a:t>
            </a:r>
          </a:p>
          <a:p>
            <a:r>
              <a:rPr lang="en-GB" dirty="0">
                <a:solidFill>
                  <a:schemeClr val="bg1"/>
                </a:solidFill>
              </a:rPr>
              <a:t>HEAVY CINEMAGOER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9A5CDB7-968F-4F04-8D32-72965310CE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844078" y="7146760"/>
            <a:ext cx="4487863" cy="346249"/>
          </a:xfrm>
        </p:spPr>
        <p:txBody>
          <a:bodyPr/>
          <a:lstStyle/>
          <a:p>
            <a:pPr>
              <a:lnSpc>
                <a:spcPts val="850"/>
              </a:lnSpc>
            </a:pPr>
            <a:r>
              <a:rPr lang="en-GB" dirty="0"/>
              <a:t>Source: GB TGI Q3 2020 (Apr 2019 – Mar 2020). </a:t>
            </a:r>
          </a:p>
          <a:p>
            <a:pPr>
              <a:lnSpc>
                <a:spcPts val="850"/>
              </a:lnSpc>
            </a:pPr>
            <a:r>
              <a:rPr lang="en-GB" dirty="0"/>
              <a:t>Base: Been to an Independent or Picturehouse cinema in last 12 months</a:t>
            </a:r>
            <a:br>
              <a:rPr lang="en-GB" dirty="0"/>
            </a:br>
            <a:r>
              <a:rPr lang="en-GB" dirty="0"/>
              <a:t>Index vs. Multiplex cinemagoers.</a:t>
            </a:r>
          </a:p>
        </p:txBody>
      </p:sp>
    </p:spTree>
    <p:extLst>
      <p:ext uri="{BB962C8B-B14F-4D97-AF65-F5344CB8AC3E}">
        <p14:creationId xmlns:p14="http://schemas.microsoft.com/office/powerpoint/2010/main" val="1688799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1" name="Object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0" name="Picture Placeholder 79">
            <a:extLst>
              <a:ext uri="{FF2B5EF4-FFF2-40B4-BE49-F238E27FC236}">
                <a16:creationId xmlns:a16="http://schemas.microsoft.com/office/drawing/2014/main" id="{76D76B3C-D530-4C05-92F1-9405988741AC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40"/>
          <a:stretch/>
        </p:blipFill>
        <p:spPr>
          <a:xfrm>
            <a:off x="381060" y="1965931"/>
            <a:ext cx="1992098" cy="2312710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Academy award winners DRAW IN THE CROWDS TO INDEPENDENT CINEMAS…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 bwMode="gray">
          <a:xfrm>
            <a:off x="264801" y="687033"/>
            <a:ext cx="12423740" cy="436608"/>
          </a:xfrm>
        </p:spPr>
        <p:txBody>
          <a:bodyPr/>
          <a:lstStyle/>
          <a:p>
            <a:r>
              <a:rPr lang="en-US" dirty="0"/>
              <a:t>Independents deliver 15% of all DCM admissions, but often a far higher proportion of Oscar winning movies</a:t>
            </a:r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AD1E0E6D-62E1-4EBD-8114-2175907420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1060" y="4396335"/>
            <a:ext cx="1992098" cy="248390"/>
          </a:xfrm>
        </p:spPr>
        <p:txBody>
          <a:bodyPr/>
          <a:lstStyle/>
          <a:p>
            <a:r>
              <a:rPr lang="en-GB" dirty="0"/>
              <a:t>The Favourite </a:t>
            </a: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8F08C040-2A94-4C25-9EFF-61BDE7BD8F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81061" y="4573788"/>
            <a:ext cx="1987378" cy="319003"/>
          </a:xfrm>
        </p:spPr>
        <p:txBody>
          <a:bodyPr/>
          <a:lstStyle/>
          <a:p>
            <a:r>
              <a:rPr lang="en-GB" dirty="0"/>
              <a:t>32% of DCM admissions</a:t>
            </a:r>
          </a:p>
        </p:txBody>
      </p:sp>
      <p:pic>
        <p:nvPicPr>
          <p:cNvPr id="82" name="Picture Placeholder 81">
            <a:extLst>
              <a:ext uri="{FF2B5EF4-FFF2-40B4-BE49-F238E27FC236}">
                <a16:creationId xmlns:a16="http://schemas.microsoft.com/office/drawing/2014/main" id="{08BE3AE3-ACCF-410F-B739-B93EF43E3094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8"/>
          <a:stretch/>
        </p:blipFill>
        <p:spPr>
          <a:xfrm>
            <a:off x="2531931" y="3065940"/>
            <a:ext cx="1992314" cy="2316354"/>
          </a:xfrm>
        </p:spPr>
      </p:pic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49A714E1-E7AD-49A4-A18C-D10F3F632A0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531931" y="5507091"/>
            <a:ext cx="1964145" cy="205938"/>
          </a:xfrm>
        </p:spPr>
        <p:txBody>
          <a:bodyPr/>
          <a:lstStyle/>
          <a:p>
            <a:r>
              <a:rPr lang="en-GB" dirty="0"/>
              <a:t>Three Billboards Outside Ebbing, Missouri</a:t>
            </a:r>
          </a:p>
        </p:txBody>
      </p:sp>
      <p:sp>
        <p:nvSpPr>
          <p:cNvPr id="66" name="Text Placeholder 65">
            <a:extLst>
              <a:ext uri="{FF2B5EF4-FFF2-40B4-BE49-F238E27FC236}">
                <a16:creationId xmlns:a16="http://schemas.microsoft.com/office/drawing/2014/main" id="{92C4B88B-2487-4974-A96D-53BC74B3A65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31931" y="5836253"/>
            <a:ext cx="1964145" cy="369882"/>
          </a:xfrm>
        </p:spPr>
        <p:txBody>
          <a:bodyPr/>
          <a:lstStyle/>
          <a:p>
            <a:r>
              <a:rPr lang="en-GB" dirty="0"/>
              <a:t>33% of DCM admissions</a:t>
            </a:r>
          </a:p>
        </p:txBody>
      </p:sp>
      <p:sp>
        <p:nvSpPr>
          <p:cNvPr id="68" name="Text Placeholder 67">
            <a:extLst>
              <a:ext uri="{FF2B5EF4-FFF2-40B4-BE49-F238E27FC236}">
                <a16:creationId xmlns:a16="http://schemas.microsoft.com/office/drawing/2014/main" id="{2DACF94F-452E-407F-A8D8-FB458950152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70102" y="4089574"/>
            <a:ext cx="1989981" cy="205938"/>
          </a:xfrm>
        </p:spPr>
        <p:txBody>
          <a:bodyPr/>
          <a:lstStyle/>
          <a:p>
            <a:r>
              <a:rPr lang="en-GB" dirty="0"/>
              <a:t>Parasite</a:t>
            </a:r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64052D32-08E1-4BD4-986D-854EE7E0EE0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57184" y="4295512"/>
            <a:ext cx="1989981" cy="319003"/>
          </a:xfrm>
        </p:spPr>
        <p:txBody>
          <a:bodyPr/>
          <a:lstStyle/>
          <a:p>
            <a:r>
              <a:rPr lang="en-GB" dirty="0"/>
              <a:t>39% of DCM admissions</a:t>
            </a:r>
          </a:p>
        </p:txBody>
      </p:sp>
      <p:pic>
        <p:nvPicPr>
          <p:cNvPr id="84" name="Picture Placeholder 83">
            <a:extLst>
              <a:ext uri="{FF2B5EF4-FFF2-40B4-BE49-F238E27FC236}">
                <a16:creationId xmlns:a16="http://schemas.microsoft.com/office/drawing/2014/main" id="{78B4B976-4329-4E86-AB8B-D51DBB633524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8"/>
          <a:stretch/>
        </p:blipFill>
        <p:spPr>
          <a:xfrm>
            <a:off x="6804489" y="3065940"/>
            <a:ext cx="1981061" cy="2316354"/>
          </a:xfrm>
        </p:spPr>
      </p:pic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FDA970B4-7EFD-4882-934A-7C92449D3B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804489" y="5507091"/>
            <a:ext cx="1981061" cy="205938"/>
          </a:xfrm>
        </p:spPr>
        <p:txBody>
          <a:bodyPr/>
          <a:lstStyle/>
          <a:p>
            <a:r>
              <a:rPr lang="en-GB" dirty="0"/>
              <a:t>Phantom Thread</a:t>
            </a:r>
          </a:p>
        </p:txBody>
      </p:sp>
      <p:sp>
        <p:nvSpPr>
          <p:cNvPr id="72" name="Text Placeholder 71">
            <a:extLst>
              <a:ext uri="{FF2B5EF4-FFF2-40B4-BE49-F238E27FC236}">
                <a16:creationId xmlns:a16="http://schemas.microsoft.com/office/drawing/2014/main" id="{30EBD9F3-EDB2-4312-A20A-35A55D809BB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804489" y="5684544"/>
            <a:ext cx="1981061" cy="319003"/>
          </a:xfrm>
        </p:spPr>
        <p:txBody>
          <a:bodyPr/>
          <a:lstStyle/>
          <a:p>
            <a:r>
              <a:rPr lang="en-GB" dirty="0"/>
              <a:t>62% of DCM admissions</a:t>
            </a:r>
          </a:p>
        </p:txBody>
      </p:sp>
      <p:pic>
        <p:nvPicPr>
          <p:cNvPr id="86" name="Picture Placeholder 85">
            <a:extLst>
              <a:ext uri="{FF2B5EF4-FFF2-40B4-BE49-F238E27FC236}">
                <a16:creationId xmlns:a16="http://schemas.microsoft.com/office/drawing/2014/main" id="{94EC814B-D19D-4031-B55E-EB1A2A4782E8}"/>
              </a:ext>
            </a:extLst>
          </p:cNvPr>
          <p:cNvPicPr>
            <a:picLocks noGrp="1" noChangeAspect="1"/>
          </p:cNvPicPr>
          <p:nvPr>
            <p:ph type="pic" sz="quarter" idx="28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46441" y="1965931"/>
            <a:ext cx="1992314" cy="2312710"/>
          </a:xfrm>
        </p:spPr>
      </p:pic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DEDFAFD7-46BC-45F0-95CC-AB9D25922AB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46441" y="4394761"/>
            <a:ext cx="1985747" cy="205938"/>
          </a:xfrm>
        </p:spPr>
        <p:txBody>
          <a:bodyPr/>
          <a:lstStyle/>
          <a:p>
            <a:r>
              <a:rPr lang="en-GB" dirty="0"/>
              <a:t>Call Me By Your Name</a:t>
            </a:r>
          </a:p>
        </p:txBody>
      </p:sp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8D44B506-2BF1-4184-9001-2735C7180E6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46441" y="4572214"/>
            <a:ext cx="1985747" cy="319003"/>
          </a:xfrm>
        </p:spPr>
        <p:txBody>
          <a:bodyPr/>
          <a:lstStyle/>
          <a:p>
            <a:r>
              <a:rPr lang="en-GB" dirty="0"/>
              <a:t>71% of DCM admissions</a:t>
            </a:r>
          </a:p>
        </p:txBody>
      </p:sp>
      <p:pic>
        <p:nvPicPr>
          <p:cNvPr id="88" name="Picture Placeholder 87">
            <a:extLst>
              <a:ext uri="{FF2B5EF4-FFF2-40B4-BE49-F238E27FC236}">
                <a16:creationId xmlns:a16="http://schemas.microsoft.com/office/drawing/2014/main" id="{15D8EEAD-B8C4-44C0-AAB7-D9BF3A0CD7FD}"/>
              </a:ext>
            </a:extLst>
          </p:cNvPr>
          <p:cNvPicPr>
            <a:picLocks noGrp="1" noChangeAspect="1"/>
          </p:cNvPicPr>
          <p:nvPr>
            <p:ph type="pic" sz="quarter" idx="31"/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40"/>
          <a:stretch/>
        </p:blipFill>
        <p:spPr>
          <a:xfrm>
            <a:off x="11097313" y="3065940"/>
            <a:ext cx="1992314" cy="2335342"/>
          </a:xfrm>
        </p:spPr>
      </p:pic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E6A333B6-6ED5-4228-8C55-FA5D283BFEA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1097313" y="5505516"/>
            <a:ext cx="1979397" cy="205938"/>
          </a:xfrm>
        </p:spPr>
        <p:txBody>
          <a:bodyPr/>
          <a:lstStyle/>
          <a:p>
            <a:r>
              <a:rPr lang="en-GB" dirty="0"/>
              <a:t>Free Solo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C940CFA2-3586-4139-AD05-3E426943E90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11097313" y="5682969"/>
            <a:ext cx="1979397" cy="319003"/>
          </a:xfrm>
        </p:spPr>
        <p:txBody>
          <a:bodyPr/>
          <a:lstStyle/>
          <a:p>
            <a:r>
              <a:rPr lang="en-GB" dirty="0"/>
              <a:t>73% of DCM admissions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15"/>
          </p:nvPr>
        </p:nvSpPr>
        <p:spPr bwMode="gray"/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DCM admissions data.</a:t>
            </a:r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154E88C1-8DFB-453C-90D1-7C08A494DB29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0101" y="1704527"/>
            <a:ext cx="1992314" cy="2312709"/>
          </a:xfrm>
        </p:spPr>
      </p:pic>
    </p:spTree>
    <p:extLst>
      <p:ext uri="{BB962C8B-B14F-4D97-AF65-F5344CB8AC3E}">
        <p14:creationId xmlns:p14="http://schemas.microsoft.com/office/powerpoint/2010/main" val="135070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9B81A428-C4B1-F642-88AE-8ED774BA0FC3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12.xml><?xml version="1.0" encoding="utf-8"?>
<a:theme xmlns:a="http://schemas.openxmlformats.org/drawingml/2006/main" name="1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13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14.xml><?xml version="1.0" encoding="utf-8"?>
<a:theme xmlns:a="http://schemas.openxmlformats.org/drawingml/2006/main" name="3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ppt/theme/theme15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6.xml><?xml version="1.0" encoding="utf-8"?>
<a:theme xmlns:a="http://schemas.openxmlformats.org/drawingml/2006/main" name="2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7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7EC78B1C-5D69-4949-9B2C-D1A06225736E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1EAB93-89FC-7C45-A263-CCB4337C1C1A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B2B0FD12-3727-E94A-BBF9-50CA084E2676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535D1B-DEC1-D540-9F33-D202B6B25608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638900D9-EBF9-0D4A-AE83-BD423BA4FCE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AAF47608315248A36B72E121849E10" ma:contentTypeVersion="10" ma:contentTypeDescription="Create a new document." ma:contentTypeScope="" ma:versionID="4f64f044f075d211c38da980bf8f6543">
  <xsd:schema xmlns:xsd="http://www.w3.org/2001/XMLSchema" xmlns:xs="http://www.w3.org/2001/XMLSchema" xmlns:p="http://schemas.microsoft.com/office/2006/metadata/properties" xmlns:ns3="50a49a54-5dbb-4b0f-aa98-dd78e74d4392" targetNamespace="http://schemas.microsoft.com/office/2006/metadata/properties" ma:root="true" ma:fieldsID="ff942417305a1b3af5d97ffe17a74857" ns3:_="">
    <xsd:import namespace="50a49a54-5dbb-4b0f-aa98-dd78e74d439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a49a54-5dbb-4b0f-aa98-dd78e74d43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C05227-11ED-4882-8F20-8C03E7E6C29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a49a54-5dbb-4b0f-aa98-dd78e74d43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BDD5957-B46B-4E8B-8830-7BC350143B2F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50a49a54-5dbb-4b0f-aa98-dd78e74d4392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3F276B9-4BE8-4B6F-8E1C-835F040FFBC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63</Words>
  <Application>Microsoft Office PowerPoint</Application>
  <PresentationFormat>Custom</PresentationFormat>
  <Paragraphs>160</Paragraphs>
  <Slides>1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5" baseType="lpstr"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1_Copy Slides</vt:lpstr>
      <vt:lpstr>2_Copy Slides</vt:lpstr>
      <vt:lpstr>3_Copy Slides</vt:lpstr>
      <vt:lpstr>1_Blank with title</vt:lpstr>
      <vt:lpstr>2_Blank with title</vt:lpstr>
      <vt:lpstr>think-cell Slide</vt:lpstr>
      <vt:lpstr>Dcm independent CINEMAs</vt:lpstr>
      <vt:lpstr>DCM’S INDEPENDENT PARTNERS</vt:lpstr>
      <vt:lpstr>PowerPoint Presentation</vt:lpstr>
      <vt:lpstr>PowerPoint Presentation</vt:lpstr>
      <vt:lpstr>PowerPoint Presentation</vt:lpstr>
      <vt:lpstr>Independent cinema HAS BEEN thriving IN THE UK</vt:lpstr>
      <vt:lpstr>THE QUALITY EXPERIENCE IS A KEY DRIVER FOR Independent cinema</vt:lpstr>
      <vt:lpstr>PowerPoint Presentation</vt:lpstr>
      <vt:lpstr>Academy award winners DRAW IN THE CROWDS TO INDEPENDENT CINEMAS…</vt:lpstr>
      <vt:lpstr>…But they ALSO ENJOY blockbusters TOO</vt:lpstr>
      <vt:lpstr>THE Independent AUDIENCE</vt:lpstr>
      <vt:lpstr>DCM’S INDEPENDENT CINEMAS OFFER BRANDS NATIONAL COVeRAGE</vt:lpstr>
      <vt:lpstr>INDEPENDENT CINEMA CAMPAIGN SUCCESSES</vt:lpstr>
      <vt:lpstr>THANK YOU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1-30T15:35:30Z</dcterms:created>
  <dcterms:modified xsi:type="dcterms:W3CDTF">2023-06-09T08:33:0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ContentTypeId">
    <vt:lpwstr>0x010100EFAAF47608315248A36B72E121849E10</vt:lpwstr>
  </property>
</Properties>
</file>